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5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7" r:id="rId3"/>
    <p:sldMasterId id="2147483687" r:id="rId4"/>
    <p:sldMasterId id="2147483697" r:id="rId5"/>
    <p:sldMasterId id="2147483706" r:id="rId6"/>
  </p:sldMasterIdLst>
  <p:notesMasterIdLst>
    <p:notesMasterId r:id="rId17"/>
  </p:notesMasterIdLst>
  <p:sldIdLst>
    <p:sldId id="273" r:id="rId7"/>
    <p:sldId id="271" r:id="rId8"/>
    <p:sldId id="3467" r:id="rId9"/>
    <p:sldId id="3952" r:id="rId10"/>
    <p:sldId id="3955" r:id="rId11"/>
    <p:sldId id="3954" r:id="rId12"/>
    <p:sldId id="3953" r:id="rId13"/>
    <p:sldId id="3956" r:id="rId14"/>
    <p:sldId id="3957" r:id="rId15"/>
    <p:sldId id="3958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380" autoAdjust="0"/>
  </p:normalViewPr>
  <p:slideViewPr>
    <p:cSldViewPr snapToGrid="0">
      <p:cViewPr>
        <p:scale>
          <a:sx n="60" d="100"/>
          <a:sy n="60" d="100"/>
        </p:scale>
        <p:origin x="-1698" y="-73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54E8F4-1527-4B45-ACFC-70F325486E8C}" type="datetimeFigureOut">
              <a:rPr lang="en-GB" smtClean="0"/>
              <a:t>22/07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408FF9-F00C-4F51-9D88-18629B974D8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78706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4845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97316E7-B5B5-45FD-9840-400CE5C16B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54845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86836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3638"/>
            <a:ext cx="5584825" cy="31416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188537-4377-4C5B-BE09-331DDDC22D7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28415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3638"/>
            <a:ext cx="5584825" cy="31416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188537-4377-4C5B-BE09-331DDDC22D7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13844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3638"/>
            <a:ext cx="5584825" cy="31416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188537-4377-4C5B-BE09-331DDDC22D7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29468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9138" y="1163638"/>
            <a:ext cx="5584825" cy="314166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188537-4377-4C5B-BE09-331DDDC22D7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1977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A5E0C6B-1041-4DDD-AB6A-E9A69649123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AE821322-5EF5-40C9-B062-E011C1A212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FA7F005-BB1C-4BCD-9CAD-6633121E1B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3F229-21CD-4B27-970B-1135DE79A357}" type="datetimeFigureOut">
              <a:rPr lang="en-GB" smtClean="0"/>
              <a:t>22/07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BF3F478-57CE-4405-9319-A7B0F3760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04DC43A-8C50-4BC8-AB8E-A8BC54B4DA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DAB1EC-FB01-4E9A-A1E1-6B7E032E61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83247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04FAEDB-CC2C-4DED-BE14-F4F3B237B8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8C8438E2-2FD4-4AF3-9369-803F286D8A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3256579-B4A2-4B05-84B0-528EACAA3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3F229-21CD-4B27-970B-1135DE79A357}" type="datetimeFigureOut">
              <a:rPr lang="en-GB" smtClean="0"/>
              <a:t>22/07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DDF0DC3-882D-4387-9AFE-613AC3DD72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0B9DD7D-2974-4549-A5B9-1C2303D6A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DAB1EC-FB01-4E9A-A1E1-6B7E032E61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9860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D6E73946-6AF0-4447-A877-E406C647E58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CC65FD9F-9BC8-4099-9E98-82F9FFDB69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C922E21-C0DA-40FD-A132-4DFF3169A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3F229-21CD-4B27-970B-1135DE79A357}" type="datetimeFigureOut">
              <a:rPr lang="en-GB" smtClean="0"/>
              <a:t>22/07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B04314B-D561-447E-A661-18F9E965E7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E04348D-EEDD-413A-B5C9-997E0FDAB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DAB1EC-FB01-4E9A-A1E1-6B7E032E61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33752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1000" y="350788"/>
            <a:ext cx="11430000" cy="3048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1000" y="652525"/>
            <a:ext cx="11430000" cy="304800"/>
          </a:xfrm>
        </p:spPr>
        <p:txBody>
          <a:bodyPr>
            <a:noAutofit/>
          </a:bodyPr>
          <a:lstStyle>
            <a:lvl1pPr marL="0">
              <a:lnSpc>
                <a:spcPct val="85000"/>
              </a:lnSpc>
              <a:spcAft>
                <a:spcPts val="0"/>
              </a:spcAft>
              <a:buFontTx/>
              <a:buNone/>
              <a:defRPr sz="2400" cap="all">
                <a:solidFill>
                  <a:schemeClr val="tx2"/>
                </a:solidFill>
                <a:latin typeface="Effra Light"/>
              </a:defRPr>
            </a:lvl1pPr>
            <a:lvl2pPr marL="0" indent="0">
              <a:lnSpc>
                <a:spcPct val="85000"/>
              </a:lnSpc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ct val="85000"/>
              </a:lnSpc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ct val="85000"/>
              </a:lnSpc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ct val="85000"/>
              </a:lnSpc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6pPr>
            <a:lvl7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330506"/>
            <a:ext cx="11430000" cy="4686300"/>
          </a:xfrm>
        </p:spPr>
        <p:txBody>
          <a:bodyPr/>
          <a:lstStyle>
            <a:lvl1pPr>
              <a:spcAft>
                <a:spcPts val="833"/>
              </a:spcAft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563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000" y="351838"/>
            <a:ext cx="11430000" cy="3048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1000" y="652618"/>
            <a:ext cx="11430000" cy="304800"/>
          </a:xfrm>
        </p:spPr>
        <p:txBody>
          <a:bodyPr>
            <a:noAutofit/>
          </a:bodyPr>
          <a:lstStyle>
            <a:lvl1pPr mar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cap="all">
                <a:solidFill>
                  <a:schemeClr val="tx2"/>
                </a:solidFill>
                <a:latin typeface="Effra Light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6pPr>
            <a:lvl7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330855"/>
            <a:ext cx="5715000" cy="4686300"/>
          </a:xfrm>
        </p:spPr>
        <p:txBody>
          <a:bodyPr rIns="114220"/>
          <a:lstStyle>
            <a:lvl1pPr>
              <a:spcAft>
                <a:spcPts val="833"/>
              </a:spcAft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6094236" y="1330855"/>
            <a:ext cx="5715000" cy="4686300"/>
          </a:xfrm>
        </p:spPr>
        <p:txBody>
          <a:bodyPr rIns="114220"/>
          <a:lstStyle>
            <a:lvl1pPr>
              <a:spcAft>
                <a:spcPts val="833"/>
              </a:spcAft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1752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 Intr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000" y="351555"/>
            <a:ext cx="11430000" cy="3048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381000" y="652618"/>
            <a:ext cx="11430000" cy="304800"/>
          </a:xfrm>
        </p:spPr>
        <p:txBody>
          <a:bodyPr>
            <a:noAutofit/>
          </a:bodyPr>
          <a:lstStyle>
            <a:lvl1pPr mar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cap="all">
                <a:solidFill>
                  <a:schemeClr val="tx2"/>
                </a:solidFill>
                <a:latin typeface="Effra Light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6pPr>
            <a:lvl7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330855"/>
            <a:ext cx="11430000" cy="685800"/>
          </a:xfrm>
        </p:spPr>
        <p:txBody>
          <a:bodyPr>
            <a:noAutofit/>
          </a:bodyPr>
          <a:lstStyle>
            <a:lvl1pPr marL="0" indent="0">
              <a:lnSpc>
                <a:spcPts val="2000"/>
              </a:lnSpc>
              <a:spcAft>
                <a:spcPts val="667"/>
              </a:spcAft>
              <a:buFontTx/>
              <a:buNone/>
              <a:defRPr sz="1800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ts val="2000"/>
              </a:lnSpc>
              <a:spcAft>
                <a:spcPts val="667"/>
              </a:spcAft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ts val="2000"/>
              </a:lnSpc>
              <a:spcAft>
                <a:spcPts val="667"/>
              </a:spcAft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ts val="2000"/>
              </a:lnSpc>
              <a:spcAft>
                <a:spcPts val="667"/>
              </a:spcAft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ts val="2000"/>
              </a:lnSpc>
              <a:spcAft>
                <a:spcPts val="667"/>
              </a:spcAft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ts val="2167"/>
              </a:lnSpc>
              <a:buFontTx/>
              <a:buNone/>
              <a:defRPr sz="1800">
                <a:solidFill>
                  <a:schemeClr val="tx1"/>
                </a:solidFill>
              </a:defRPr>
            </a:lvl6pPr>
            <a:lvl7pPr marL="0" indent="0">
              <a:lnSpc>
                <a:spcPts val="2167"/>
              </a:lnSpc>
              <a:buFontTx/>
              <a:buNone/>
              <a:defRPr sz="1800">
                <a:solidFill>
                  <a:schemeClr val="tx1"/>
                </a:solidFill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380998" y="2024053"/>
            <a:ext cx="5715000" cy="4000500"/>
          </a:xfrm>
        </p:spPr>
        <p:txBody>
          <a:bodyPr rIns="114220"/>
          <a:lstStyle>
            <a:lvl1pPr marL="380715" indent="-190357" algn="l">
              <a:lnSpc>
                <a:spcPts val="1833"/>
              </a:lnSpc>
              <a:spcAft>
                <a:spcPts val="833"/>
              </a:spcAft>
              <a:buFont typeface="Wingdings" charset="2"/>
              <a:buChar char="§"/>
              <a:defRPr sz="1700">
                <a:solidFill>
                  <a:schemeClr val="tx2"/>
                </a:solidFill>
              </a:defRPr>
            </a:lvl1pPr>
            <a:lvl2pPr marL="571063" indent="-190357">
              <a:spcAft>
                <a:spcPts val="833"/>
              </a:spcAft>
              <a:defRPr>
                <a:solidFill>
                  <a:schemeClr val="tx2"/>
                </a:solidFill>
              </a:defRPr>
            </a:lvl2pPr>
            <a:lvl3pPr marL="765399" indent="-190357">
              <a:spcAft>
                <a:spcPts val="833"/>
              </a:spcAft>
              <a:defRPr>
                <a:solidFill>
                  <a:schemeClr val="tx2"/>
                </a:solidFill>
              </a:defRPr>
            </a:lvl3pPr>
            <a:lvl4pPr marL="954417" indent="-190357">
              <a:spcAft>
                <a:spcPts val="667"/>
              </a:spcAft>
              <a:defRPr/>
            </a:lvl4pPr>
            <a:lvl5pPr marL="1146095" indent="-189034">
              <a:spcAft>
                <a:spcPts val="667"/>
              </a:spcAft>
              <a:defRPr/>
            </a:lvl5pPr>
            <a:lvl6pPr marL="1333810" indent="-187712">
              <a:defRPr/>
            </a:lvl6pPr>
            <a:lvl7pPr marL="1522841" indent="-189034" defTabSz="416402"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5"/>
          </p:nvPr>
        </p:nvSpPr>
        <p:spPr>
          <a:xfrm>
            <a:off x="6094236" y="2024053"/>
            <a:ext cx="5715000" cy="4000500"/>
          </a:xfrm>
        </p:spPr>
        <p:txBody>
          <a:bodyPr rIns="114220"/>
          <a:lstStyle>
            <a:lvl1pPr marL="380715" indent="-190357" algn="l">
              <a:lnSpc>
                <a:spcPts val="1833"/>
              </a:lnSpc>
              <a:spcAft>
                <a:spcPts val="833"/>
              </a:spcAft>
              <a:buFont typeface="Wingdings" charset="2"/>
              <a:buChar char="§"/>
              <a:defRPr sz="1700">
                <a:solidFill>
                  <a:schemeClr val="tx2"/>
                </a:solidFill>
              </a:defRPr>
            </a:lvl1pPr>
            <a:lvl2pPr marL="571063" indent="-190357">
              <a:spcAft>
                <a:spcPts val="833"/>
              </a:spcAft>
              <a:defRPr>
                <a:solidFill>
                  <a:schemeClr val="tx2"/>
                </a:solidFill>
              </a:defRPr>
            </a:lvl2pPr>
            <a:lvl3pPr marL="765399" indent="-190357">
              <a:spcAft>
                <a:spcPts val="833"/>
              </a:spcAft>
              <a:defRPr>
                <a:solidFill>
                  <a:schemeClr val="tx2"/>
                </a:solidFill>
              </a:defRPr>
            </a:lvl3pPr>
            <a:lvl4pPr marL="954417" indent="-190357">
              <a:spcAft>
                <a:spcPts val="667"/>
              </a:spcAft>
              <a:defRPr/>
            </a:lvl4pPr>
            <a:lvl5pPr marL="1146095" indent="-189034">
              <a:spcAft>
                <a:spcPts val="667"/>
              </a:spcAft>
              <a:defRPr/>
            </a:lvl5pPr>
            <a:lvl6pPr marL="1333810" indent="-187712">
              <a:defRPr/>
            </a:lvl6pPr>
            <a:lvl7pPr marL="1522841" indent="-189034" defTabSz="416402">
              <a:defRPr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40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002" y="351555"/>
            <a:ext cx="7429500" cy="3048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1002" y="652618"/>
            <a:ext cx="7429500" cy="304800"/>
          </a:xfrm>
        </p:spPr>
        <p:txBody>
          <a:bodyPr>
            <a:noAutofit/>
          </a:bodyPr>
          <a:lstStyle>
            <a:lvl1pPr mar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cap="all">
                <a:solidFill>
                  <a:schemeClr val="tx2"/>
                </a:solidFill>
                <a:latin typeface="Effra Light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6pPr>
            <a:lvl7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2" y="1338793"/>
            <a:ext cx="7429500" cy="4686300"/>
          </a:xfrm>
        </p:spPr>
        <p:txBody>
          <a:bodyPr/>
          <a:lstStyle>
            <a:lvl1pPr>
              <a:spcAft>
                <a:spcPts val="833"/>
              </a:spcAft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8001000" y="2"/>
            <a:ext cx="4191000" cy="6286500"/>
          </a:xfrm>
        </p:spPr>
        <p:txBody>
          <a:bodyPr lIns="57112" tIns="28559" rIns="57112" bIns="28559">
            <a:normAutofit/>
          </a:bodyPr>
          <a:lstStyle>
            <a:lvl1pPr marL="0" indent="0">
              <a:lnSpc>
                <a:spcPts val="1500"/>
              </a:lnSpc>
              <a:buNone/>
              <a:defRPr sz="1500" cap="all" baseline="0">
                <a:solidFill>
                  <a:schemeClr val="bg2"/>
                </a:solidFill>
                <a:latin typeface="Effra Light"/>
              </a:defRPr>
            </a:lvl1pPr>
          </a:lstStyle>
          <a:p>
            <a:r>
              <a:rPr lang="en-US" dirty="0"/>
              <a:t>Drag picture to placeholder </a:t>
            </a:r>
            <a:br>
              <a:rPr lang="en-US" dirty="0"/>
            </a:br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066408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51555"/>
            <a:ext cx="11430000" cy="3048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1000" y="652618"/>
            <a:ext cx="11430000" cy="304800"/>
          </a:xfrm>
        </p:spPr>
        <p:txBody>
          <a:bodyPr>
            <a:noAutofit/>
          </a:bodyPr>
          <a:lstStyle>
            <a:lvl1pPr mar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cap="all">
                <a:solidFill>
                  <a:schemeClr val="tx2"/>
                </a:solidFill>
                <a:latin typeface="Effra Light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6pPr>
            <a:lvl7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1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79678" y="2857500"/>
            <a:ext cx="1143000" cy="1143000"/>
          </a:xfrm>
        </p:spPr>
        <p:txBody>
          <a:bodyPr>
            <a:normAutofit/>
          </a:bodyPr>
          <a:lstStyle>
            <a:lvl1pPr>
              <a:lnSpc>
                <a:spcPts val="1167"/>
              </a:lnSpc>
              <a:spcAft>
                <a:spcPts val="0"/>
              </a:spcAft>
              <a:defRPr sz="11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1522824" y="2857500"/>
            <a:ext cx="1143000" cy="1143000"/>
          </a:xfrm>
        </p:spPr>
        <p:txBody>
          <a:bodyPr>
            <a:normAutofit/>
          </a:bodyPr>
          <a:lstStyle>
            <a:lvl1pPr>
              <a:lnSpc>
                <a:spcPts val="1167"/>
              </a:lnSpc>
              <a:spcAft>
                <a:spcPts val="0"/>
              </a:spcAft>
              <a:defRPr sz="11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3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2665971" y="2857500"/>
            <a:ext cx="1143000" cy="1143000"/>
          </a:xfrm>
        </p:spPr>
        <p:txBody>
          <a:bodyPr>
            <a:normAutofit/>
          </a:bodyPr>
          <a:lstStyle>
            <a:lvl1pPr>
              <a:lnSpc>
                <a:spcPts val="1167"/>
              </a:lnSpc>
              <a:spcAft>
                <a:spcPts val="0"/>
              </a:spcAft>
              <a:defRPr sz="11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4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3809118" y="2857500"/>
            <a:ext cx="1143000" cy="1143000"/>
          </a:xfrm>
        </p:spPr>
        <p:txBody>
          <a:bodyPr>
            <a:normAutofit/>
          </a:bodyPr>
          <a:lstStyle>
            <a:lvl1pPr>
              <a:lnSpc>
                <a:spcPts val="1167"/>
              </a:lnSpc>
              <a:spcAft>
                <a:spcPts val="0"/>
              </a:spcAft>
              <a:defRPr sz="11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8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4952264" y="2857500"/>
            <a:ext cx="1143000" cy="1143000"/>
          </a:xfrm>
        </p:spPr>
        <p:txBody>
          <a:bodyPr>
            <a:normAutofit/>
          </a:bodyPr>
          <a:lstStyle>
            <a:lvl1pPr>
              <a:lnSpc>
                <a:spcPts val="1167"/>
              </a:lnSpc>
              <a:spcAft>
                <a:spcPts val="0"/>
              </a:spcAft>
              <a:defRPr sz="11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6095411" y="2857500"/>
            <a:ext cx="1143000" cy="1143000"/>
          </a:xfrm>
        </p:spPr>
        <p:txBody>
          <a:bodyPr>
            <a:normAutofit/>
          </a:bodyPr>
          <a:lstStyle>
            <a:lvl1pPr>
              <a:lnSpc>
                <a:spcPts val="1167"/>
              </a:lnSpc>
              <a:spcAft>
                <a:spcPts val="0"/>
              </a:spcAft>
              <a:defRPr sz="11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0"/>
          </p:nvPr>
        </p:nvSpPr>
        <p:spPr>
          <a:xfrm>
            <a:off x="7238558" y="2857500"/>
            <a:ext cx="1143000" cy="1143000"/>
          </a:xfrm>
        </p:spPr>
        <p:txBody>
          <a:bodyPr>
            <a:normAutofit/>
          </a:bodyPr>
          <a:lstStyle>
            <a:lvl1pPr>
              <a:lnSpc>
                <a:spcPts val="1167"/>
              </a:lnSpc>
              <a:spcAft>
                <a:spcPts val="0"/>
              </a:spcAft>
              <a:defRPr sz="11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8381704" y="2857500"/>
            <a:ext cx="1143000" cy="1143000"/>
          </a:xfrm>
        </p:spPr>
        <p:txBody>
          <a:bodyPr>
            <a:normAutofit/>
          </a:bodyPr>
          <a:lstStyle>
            <a:lvl1pPr>
              <a:lnSpc>
                <a:spcPts val="1167"/>
              </a:lnSpc>
              <a:spcAft>
                <a:spcPts val="0"/>
              </a:spcAft>
              <a:defRPr sz="11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9524851" y="2857500"/>
            <a:ext cx="1143000" cy="1143000"/>
          </a:xfrm>
        </p:spPr>
        <p:txBody>
          <a:bodyPr>
            <a:normAutofit/>
          </a:bodyPr>
          <a:lstStyle>
            <a:lvl1pPr>
              <a:lnSpc>
                <a:spcPts val="1167"/>
              </a:lnSpc>
              <a:spcAft>
                <a:spcPts val="0"/>
              </a:spcAft>
              <a:defRPr sz="11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10668000" y="2857500"/>
            <a:ext cx="1143000" cy="1143000"/>
          </a:xfrm>
        </p:spPr>
        <p:txBody>
          <a:bodyPr>
            <a:normAutofit/>
          </a:bodyPr>
          <a:lstStyle>
            <a:lvl1pPr>
              <a:lnSpc>
                <a:spcPts val="1167"/>
              </a:lnSpc>
              <a:spcAft>
                <a:spcPts val="0"/>
              </a:spcAft>
              <a:defRPr sz="11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79678" y="1710727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8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1522824" y="1710727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9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2665971" y="1710727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0" name="Text Placeholder 3"/>
          <p:cNvSpPr>
            <a:spLocks noGrp="1"/>
          </p:cNvSpPr>
          <p:nvPr>
            <p:ph type="body" sz="quarter" idx="27"/>
          </p:nvPr>
        </p:nvSpPr>
        <p:spPr>
          <a:xfrm>
            <a:off x="3809118" y="1710727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1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4952264" y="1710727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2" name="Text Placeholder 3"/>
          <p:cNvSpPr>
            <a:spLocks noGrp="1"/>
          </p:cNvSpPr>
          <p:nvPr>
            <p:ph type="body" sz="quarter" idx="29"/>
          </p:nvPr>
        </p:nvSpPr>
        <p:spPr>
          <a:xfrm>
            <a:off x="6095411" y="1710727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3" name="Text Placeholder 3"/>
          <p:cNvSpPr>
            <a:spLocks noGrp="1"/>
          </p:cNvSpPr>
          <p:nvPr>
            <p:ph type="body" sz="quarter" idx="30"/>
          </p:nvPr>
        </p:nvSpPr>
        <p:spPr>
          <a:xfrm>
            <a:off x="7238558" y="1710727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4" name="Text Placeholder 3"/>
          <p:cNvSpPr>
            <a:spLocks noGrp="1"/>
          </p:cNvSpPr>
          <p:nvPr>
            <p:ph type="body" sz="quarter" idx="31"/>
          </p:nvPr>
        </p:nvSpPr>
        <p:spPr>
          <a:xfrm>
            <a:off x="8381704" y="1710727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5" name="Text Placeholder 3"/>
          <p:cNvSpPr>
            <a:spLocks noGrp="1"/>
          </p:cNvSpPr>
          <p:nvPr>
            <p:ph type="body" sz="quarter" idx="32"/>
          </p:nvPr>
        </p:nvSpPr>
        <p:spPr>
          <a:xfrm>
            <a:off x="9524851" y="1710727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6" name="Text Placeholder 3"/>
          <p:cNvSpPr>
            <a:spLocks noGrp="1"/>
          </p:cNvSpPr>
          <p:nvPr>
            <p:ph type="body" sz="quarter" idx="33"/>
          </p:nvPr>
        </p:nvSpPr>
        <p:spPr>
          <a:xfrm>
            <a:off x="10668000" y="1710727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7" name="Text Placeholder 27"/>
          <p:cNvSpPr>
            <a:spLocks noGrp="1"/>
          </p:cNvSpPr>
          <p:nvPr>
            <p:ph type="body" sz="quarter" idx="34"/>
          </p:nvPr>
        </p:nvSpPr>
        <p:spPr>
          <a:xfrm>
            <a:off x="379678" y="1710725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8" name="Text Placeholder 27"/>
          <p:cNvSpPr>
            <a:spLocks noGrp="1"/>
          </p:cNvSpPr>
          <p:nvPr>
            <p:ph type="body" sz="quarter" idx="35"/>
          </p:nvPr>
        </p:nvSpPr>
        <p:spPr>
          <a:xfrm>
            <a:off x="1522824" y="1710725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9" name="Text Placeholder 27"/>
          <p:cNvSpPr>
            <a:spLocks noGrp="1"/>
          </p:cNvSpPr>
          <p:nvPr>
            <p:ph type="body" sz="quarter" idx="36"/>
          </p:nvPr>
        </p:nvSpPr>
        <p:spPr>
          <a:xfrm>
            <a:off x="2665971" y="1710725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0" name="Text Placeholder 27"/>
          <p:cNvSpPr>
            <a:spLocks noGrp="1"/>
          </p:cNvSpPr>
          <p:nvPr>
            <p:ph type="body" sz="quarter" idx="37"/>
          </p:nvPr>
        </p:nvSpPr>
        <p:spPr>
          <a:xfrm>
            <a:off x="3809118" y="1710725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1" name="Text Placeholder 27"/>
          <p:cNvSpPr>
            <a:spLocks noGrp="1"/>
          </p:cNvSpPr>
          <p:nvPr>
            <p:ph type="body" sz="quarter" idx="38"/>
          </p:nvPr>
        </p:nvSpPr>
        <p:spPr>
          <a:xfrm>
            <a:off x="4952264" y="1710725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2" name="Text Placeholder 27"/>
          <p:cNvSpPr>
            <a:spLocks noGrp="1"/>
          </p:cNvSpPr>
          <p:nvPr>
            <p:ph type="body" sz="quarter" idx="39"/>
          </p:nvPr>
        </p:nvSpPr>
        <p:spPr>
          <a:xfrm>
            <a:off x="6095411" y="1710725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3" name="Text Placeholder 27"/>
          <p:cNvSpPr>
            <a:spLocks noGrp="1"/>
          </p:cNvSpPr>
          <p:nvPr>
            <p:ph type="body" sz="quarter" idx="40"/>
          </p:nvPr>
        </p:nvSpPr>
        <p:spPr>
          <a:xfrm>
            <a:off x="7238558" y="1710725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4" name="Text Placeholder 27"/>
          <p:cNvSpPr>
            <a:spLocks noGrp="1"/>
          </p:cNvSpPr>
          <p:nvPr>
            <p:ph type="body" sz="quarter" idx="41"/>
          </p:nvPr>
        </p:nvSpPr>
        <p:spPr>
          <a:xfrm>
            <a:off x="8381704" y="1710725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5" name="Text Placeholder 27"/>
          <p:cNvSpPr>
            <a:spLocks noGrp="1"/>
          </p:cNvSpPr>
          <p:nvPr>
            <p:ph type="body" sz="quarter" idx="42"/>
          </p:nvPr>
        </p:nvSpPr>
        <p:spPr>
          <a:xfrm>
            <a:off x="9524851" y="1710725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6" name="Text Placeholder 27"/>
          <p:cNvSpPr>
            <a:spLocks noGrp="1"/>
          </p:cNvSpPr>
          <p:nvPr>
            <p:ph type="body" sz="quarter" idx="43"/>
          </p:nvPr>
        </p:nvSpPr>
        <p:spPr>
          <a:xfrm>
            <a:off x="10668000" y="1710725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7" name="Text Placeholder 3"/>
          <p:cNvSpPr>
            <a:spLocks noGrp="1"/>
          </p:cNvSpPr>
          <p:nvPr>
            <p:ph type="body" sz="quarter" idx="44"/>
          </p:nvPr>
        </p:nvSpPr>
        <p:spPr>
          <a:xfrm>
            <a:off x="379678" y="4002938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8" name="Text Placeholder 3"/>
          <p:cNvSpPr>
            <a:spLocks noGrp="1"/>
          </p:cNvSpPr>
          <p:nvPr>
            <p:ph type="body" sz="quarter" idx="45"/>
          </p:nvPr>
        </p:nvSpPr>
        <p:spPr>
          <a:xfrm>
            <a:off x="1522824" y="4002938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9" name="Text Placeholder 3"/>
          <p:cNvSpPr>
            <a:spLocks noGrp="1"/>
          </p:cNvSpPr>
          <p:nvPr>
            <p:ph type="body" sz="quarter" idx="46"/>
          </p:nvPr>
        </p:nvSpPr>
        <p:spPr>
          <a:xfrm>
            <a:off x="2665971" y="4002938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0" name="Text Placeholder 3"/>
          <p:cNvSpPr>
            <a:spLocks noGrp="1"/>
          </p:cNvSpPr>
          <p:nvPr>
            <p:ph type="body" sz="quarter" idx="47"/>
          </p:nvPr>
        </p:nvSpPr>
        <p:spPr>
          <a:xfrm>
            <a:off x="3809118" y="4002938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1" name="Text Placeholder 3"/>
          <p:cNvSpPr>
            <a:spLocks noGrp="1"/>
          </p:cNvSpPr>
          <p:nvPr>
            <p:ph type="body" sz="quarter" idx="48"/>
          </p:nvPr>
        </p:nvSpPr>
        <p:spPr>
          <a:xfrm>
            <a:off x="4952264" y="4002938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2" name="Text Placeholder 3"/>
          <p:cNvSpPr>
            <a:spLocks noGrp="1"/>
          </p:cNvSpPr>
          <p:nvPr>
            <p:ph type="body" sz="quarter" idx="49"/>
          </p:nvPr>
        </p:nvSpPr>
        <p:spPr>
          <a:xfrm>
            <a:off x="6095411" y="4002938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3" name="Text Placeholder 3"/>
          <p:cNvSpPr>
            <a:spLocks noGrp="1"/>
          </p:cNvSpPr>
          <p:nvPr>
            <p:ph type="body" sz="quarter" idx="50"/>
          </p:nvPr>
        </p:nvSpPr>
        <p:spPr>
          <a:xfrm>
            <a:off x="7238558" y="4002938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4" name="Text Placeholder 3"/>
          <p:cNvSpPr>
            <a:spLocks noGrp="1"/>
          </p:cNvSpPr>
          <p:nvPr>
            <p:ph type="body" sz="quarter" idx="51"/>
          </p:nvPr>
        </p:nvSpPr>
        <p:spPr>
          <a:xfrm>
            <a:off x="8381704" y="4002938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5" name="Text Placeholder 3"/>
          <p:cNvSpPr>
            <a:spLocks noGrp="1"/>
          </p:cNvSpPr>
          <p:nvPr>
            <p:ph type="body" sz="quarter" idx="52"/>
          </p:nvPr>
        </p:nvSpPr>
        <p:spPr>
          <a:xfrm>
            <a:off x="9524851" y="4002938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6" name="Text Placeholder 3"/>
          <p:cNvSpPr>
            <a:spLocks noGrp="1"/>
          </p:cNvSpPr>
          <p:nvPr>
            <p:ph type="body" sz="quarter" idx="53"/>
          </p:nvPr>
        </p:nvSpPr>
        <p:spPr>
          <a:xfrm>
            <a:off x="10668000" y="4002938"/>
            <a:ext cx="1143000" cy="1143000"/>
          </a:xfrm>
        </p:spPr>
        <p:txBody>
          <a:bodyPr lIns="57112" tIns="57112" rIns="57112" bIns="57112" anchor="b" anchorCtr="0">
            <a:noAutofit/>
          </a:bodyPr>
          <a:lstStyle>
            <a:lvl1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167"/>
              </a:lnSpc>
              <a:spcAft>
                <a:spcPts val="0"/>
              </a:spcAft>
              <a:buFontTx/>
              <a:buNone/>
              <a:defRPr sz="120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7" name="Text Placeholder 27"/>
          <p:cNvSpPr>
            <a:spLocks noGrp="1"/>
          </p:cNvSpPr>
          <p:nvPr>
            <p:ph type="body" sz="quarter" idx="54"/>
          </p:nvPr>
        </p:nvSpPr>
        <p:spPr>
          <a:xfrm>
            <a:off x="379678" y="4002938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8" name="Text Placeholder 27"/>
          <p:cNvSpPr>
            <a:spLocks noGrp="1"/>
          </p:cNvSpPr>
          <p:nvPr>
            <p:ph type="body" sz="quarter" idx="55"/>
          </p:nvPr>
        </p:nvSpPr>
        <p:spPr>
          <a:xfrm>
            <a:off x="1522824" y="4002938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9" name="Text Placeholder 27"/>
          <p:cNvSpPr>
            <a:spLocks noGrp="1"/>
          </p:cNvSpPr>
          <p:nvPr>
            <p:ph type="body" sz="quarter" idx="56"/>
          </p:nvPr>
        </p:nvSpPr>
        <p:spPr>
          <a:xfrm>
            <a:off x="2665971" y="4002938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0" name="Text Placeholder 27"/>
          <p:cNvSpPr>
            <a:spLocks noGrp="1"/>
          </p:cNvSpPr>
          <p:nvPr>
            <p:ph type="body" sz="quarter" idx="57"/>
          </p:nvPr>
        </p:nvSpPr>
        <p:spPr>
          <a:xfrm>
            <a:off x="3809118" y="4002938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1" name="Text Placeholder 27"/>
          <p:cNvSpPr>
            <a:spLocks noGrp="1"/>
          </p:cNvSpPr>
          <p:nvPr>
            <p:ph type="body" sz="quarter" idx="58"/>
          </p:nvPr>
        </p:nvSpPr>
        <p:spPr>
          <a:xfrm>
            <a:off x="4952264" y="4002938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2" name="Text Placeholder 27"/>
          <p:cNvSpPr>
            <a:spLocks noGrp="1"/>
          </p:cNvSpPr>
          <p:nvPr>
            <p:ph type="body" sz="quarter" idx="59"/>
          </p:nvPr>
        </p:nvSpPr>
        <p:spPr>
          <a:xfrm>
            <a:off x="6095411" y="4002938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3" name="Text Placeholder 27"/>
          <p:cNvSpPr>
            <a:spLocks noGrp="1"/>
          </p:cNvSpPr>
          <p:nvPr>
            <p:ph type="body" sz="quarter" idx="60"/>
          </p:nvPr>
        </p:nvSpPr>
        <p:spPr>
          <a:xfrm>
            <a:off x="7238558" y="4002938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4" name="Text Placeholder 27"/>
          <p:cNvSpPr>
            <a:spLocks noGrp="1"/>
          </p:cNvSpPr>
          <p:nvPr>
            <p:ph type="body" sz="quarter" idx="61"/>
          </p:nvPr>
        </p:nvSpPr>
        <p:spPr>
          <a:xfrm>
            <a:off x="8381704" y="4002938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5" name="Text Placeholder 27"/>
          <p:cNvSpPr>
            <a:spLocks noGrp="1"/>
          </p:cNvSpPr>
          <p:nvPr>
            <p:ph type="body" sz="quarter" idx="62"/>
          </p:nvPr>
        </p:nvSpPr>
        <p:spPr>
          <a:xfrm>
            <a:off x="9524851" y="4002938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6" name="Text Placeholder 27"/>
          <p:cNvSpPr>
            <a:spLocks noGrp="1"/>
          </p:cNvSpPr>
          <p:nvPr>
            <p:ph type="body" sz="quarter" idx="63"/>
          </p:nvPr>
        </p:nvSpPr>
        <p:spPr>
          <a:xfrm>
            <a:off x="10668000" y="4002938"/>
            <a:ext cx="1143000" cy="304800"/>
          </a:xfrm>
        </p:spPr>
        <p:txBody>
          <a:bodyPr lIns="57112" tIns="57112" rIns="57112">
            <a:noAutofit/>
          </a:bodyPr>
          <a:lstStyle>
            <a:lvl1pPr marL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ts val="1500"/>
              </a:lnSpc>
              <a:spcAft>
                <a:spcPts val="0"/>
              </a:spcAft>
              <a:buFontTx/>
              <a:buNone/>
              <a:defRPr sz="1500" b="1" i="0" cap="all" baseline="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3154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51555"/>
            <a:ext cx="11430000" cy="3048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1000" y="652618"/>
            <a:ext cx="11430000" cy="304800"/>
          </a:xfrm>
        </p:spPr>
        <p:txBody>
          <a:bodyPr>
            <a:noAutofit/>
          </a:bodyPr>
          <a:lstStyle>
            <a:lvl1pPr mar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cap="all">
                <a:solidFill>
                  <a:schemeClr val="tx2"/>
                </a:solidFill>
                <a:latin typeface="Effra Light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6pPr>
            <a:lvl7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983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898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2 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3224" y="787400"/>
            <a:ext cx="5714489" cy="5486400"/>
          </a:xfrm>
        </p:spPr>
        <p:txBody>
          <a:bodyPr rIns="114220"/>
          <a:lstStyle>
            <a:lvl1pPr>
              <a:lnSpc>
                <a:spcPct val="100000"/>
              </a:lnSpc>
              <a:spcAft>
                <a:spcPts val="0"/>
              </a:spcAft>
              <a:defRPr/>
            </a:lvl1pPr>
            <a:lvl2pPr>
              <a:lnSpc>
                <a:spcPct val="100000"/>
              </a:lnSpc>
              <a:spcAft>
                <a:spcPts val="0"/>
              </a:spcAft>
              <a:defRPr/>
            </a:lvl2pPr>
            <a:lvl3pPr>
              <a:lnSpc>
                <a:spcPct val="100000"/>
              </a:lnSpc>
              <a:spcAft>
                <a:spcPts val="0"/>
              </a:spcAft>
              <a:defRPr/>
            </a:lvl3pPr>
            <a:lvl4pPr>
              <a:lnSpc>
                <a:spcPct val="100000"/>
              </a:lnSpc>
              <a:spcAft>
                <a:spcPts val="0"/>
              </a:spcAft>
              <a:defRPr/>
            </a:lvl4pPr>
            <a:lvl5pPr>
              <a:lnSpc>
                <a:spcPct val="100000"/>
              </a:lnSpc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6274354" y="787400"/>
            <a:ext cx="5714489" cy="5486400"/>
          </a:xfrm>
        </p:spPr>
        <p:txBody>
          <a:bodyPr rIns="114220"/>
          <a:lstStyle>
            <a:lvl1pPr>
              <a:lnSpc>
                <a:spcPct val="100000"/>
              </a:lnSpc>
              <a:spcAft>
                <a:spcPts val="0"/>
              </a:spcAft>
              <a:defRPr/>
            </a:lvl1pPr>
            <a:lvl2pPr>
              <a:lnSpc>
                <a:spcPct val="100000"/>
              </a:lnSpc>
              <a:spcAft>
                <a:spcPts val="0"/>
              </a:spcAft>
              <a:defRPr/>
            </a:lvl2pPr>
            <a:lvl3pPr>
              <a:lnSpc>
                <a:spcPct val="100000"/>
              </a:lnSpc>
              <a:spcAft>
                <a:spcPts val="0"/>
              </a:spcAft>
              <a:defRPr/>
            </a:lvl3pPr>
            <a:lvl4pPr>
              <a:lnSpc>
                <a:spcPct val="100000"/>
              </a:lnSpc>
              <a:spcAft>
                <a:spcPts val="0"/>
              </a:spcAft>
              <a:defRPr/>
            </a:lvl4pPr>
            <a:lvl5pPr>
              <a:lnSpc>
                <a:spcPct val="100000"/>
              </a:lnSpc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itle 5"/>
          <p:cNvSpPr>
            <a:spLocks noGrp="1"/>
          </p:cNvSpPr>
          <p:nvPr>
            <p:ph type="title"/>
          </p:nvPr>
        </p:nvSpPr>
        <p:spPr>
          <a:xfrm>
            <a:off x="203200" y="177802"/>
            <a:ext cx="11785600" cy="2286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03219" y="449375"/>
            <a:ext cx="11783709" cy="222058"/>
          </a:xfrm>
        </p:spPr>
        <p:txBody>
          <a:bodyPr>
            <a:noAutofit/>
          </a:bodyPr>
          <a:lstStyle>
            <a:lvl1pPr marL="0">
              <a:lnSpc>
                <a:spcPts val="2133"/>
              </a:lnSpc>
              <a:spcAft>
                <a:spcPts val="0"/>
              </a:spcAft>
              <a:buFontTx/>
              <a:buNone/>
              <a:defRPr sz="2400" cap="all">
                <a:solidFill>
                  <a:schemeClr val="tx2"/>
                </a:solidFill>
                <a:latin typeface="Effra Light"/>
              </a:defRPr>
            </a:lvl1pPr>
            <a:lvl2pPr marL="0" indent="0">
              <a:lnSpc>
                <a:spcPts val="2000"/>
              </a:lnSpc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ts val="2000"/>
              </a:lnSpc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ts val="2000"/>
              </a:lnSpc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ts val="2000"/>
              </a:lnSpc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6pPr>
            <a:lvl7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 descr="med_logo_rgb_rev_REG_OL.e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8224" y="6241591"/>
            <a:ext cx="1550458" cy="707424"/>
          </a:xfrm>
          <a:prstGeom prst="rect">
            <a:avLst/>
          </a:prstGeom>
        </p:spPr>
      </p:pic>
      <p:sp>
        <p:nvSpPr>
          <p:cNvPr id="16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203211" y="6273800"/>
            <a:ext cx="7795684" cy="5842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100" baseline="0"/>
            </a:lvl1pPr>
            <a:lvl2pPr marL="187712" indent="0">
              <a:buNone/>
              <a:defRPr/>
            </a:lvl2pPr>
            <a:lvl3pPr marL="380715" indent="0">
              <a:buNone/>
              <a:defRPr/>
            </a:lvl3pPr>
            <a:lvl4pPr marL="571063" indent="0">
              <a:buNone/>
              <a:defRPr/>
            </a:lvl4pPr>
            <a:lvl5pPr marL="764074" indent="0">
              <a:buNone/>
              <a:defRPr/>
            </a:lvl5pPr>
          </a:lstStyle>
          <a:p>
            <a:pPr lvl="0"/>
            <a:r>
              <a:rPr lang="en-US" dirty="0"/>
              <a:t>Insert Footnotes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395049" y="6430680"/>
            <a:ext cx="2411440" cy="4064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defTabSz="913007">
              <a:lnSpc>
                <a:spcPts val="2533"/>
              </a:lnSpc>
              <a:buFont typeface="Wingdings" charset="2"/>
              <a:buNone/>
              <a:defRPr/>
            </a:pPr>
            <a:r>
              <a:rPr lang="en-US" sz="1600" dirty="0">
                <a:solidFill>
                  <a:srgbClr val="001E46"/>
                </a:solidFill>
                <a:latin typeface="Effra Light" panose="020B0403020203020204" pitchFamily="34" charset="0"/>
                <a:cs typeface="Effra"/>
              </a:rPr>
              <a:t>2016 ADA |  </a:t>
            </a:r>
            <a:fld id="{C697AC0C-8F00-4CD5-9A99-B993CC6288F7}" type="slidenum">
              <a:rPr lang="en-US" sz="1600" smtClean="0">
                <a:solidFill>
                  <a:srgbClr val="001E46"/>
                </a:solidFill>
                <a:latin typeface="Effra Light" panose="020B0403020203020204" pitchFamily="34" charset="0"/>
              </a:rPr>
              <a:pPr defTabSz="913007">
                <a:lnSpc>
                  <a:spcPts val="2533"/>
                </a:lnSpc>
                <a:buFont typeface="Wingdings" charset="2"/>
                <a:buNone/>
                <a:defRPr/>
              </a:pPr>
              <a:t>‹#›</a:t>
            </a:fld>
            <a:endParaRPr lang="en-US" sz="1600" dirty="0">
              <a:solidFill>
                <a:srgbClr val="001E46"/>
              </a:solidFill>
              <a:latin typeface="Effra Light" panose="020B04030202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502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0E1BCEA-7D42-463B-A5B4-297E1BD766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8EDE7A3-9D09-4D37-BE3B-9F4206D13D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7B3714A-7E67-4C8E-8CF8-862FE8514A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3F229-21CD-4B27-970B-1135DE79A357}" type="datetimeFigureOut">
              <a:rPr lang="en-GB" smtClean="0"/>
              <a:t>22/07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1A0A04C-5B79-4B26-BA65-E3D0C4AED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19C1EA0-41D0-4F19-94A7-AA182D753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DAB1EC-FB01-4E9A-A1E1-6B7E032E61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30893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lid Light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3" y="-199768"/>
            <a:ext cx="3426355" cy="875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8948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678" y="345220"/>
            <a:ext cx="11430000" cy="3048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2837" y="556685"/>
            <a:ext cx="11428167" cy="304800"/>
          </a:xfrm>
        </p:spPr>
        <p:txBody>
          <a:bodyPr>
            <a:noAutofit/>
          </a:bodyPr>
          <a:lstStyle>
            <a:lvl1pPr marL="0">
              <a:lnSpc>
                <a:spcPts val="1960"/>
              </a:lnSpc>
              <a:spcAft>
                <a:spcPts val="280"/>
              </a:spcAft>
              <a:buFontTx/>
              <a:buNone/>
              <a:defRPr sz="1800" cap="all">
                <a:solidFill>
                  <a:srgbClr val="004B87"/>
                </a:solidFill>
                <a:latin typeface="Effra Light"/>
              </a:defRPr>
            </a:lvl1pPr>
            <a:lvl2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latin typeface="Effra Light"/>
                <a:cs typeface="Effra Light"/>
              </a:defRPr>
            </a:lvl6pPr>
            <a:lvl7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64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Presentation Title (Edit on Slide Master)   |   June 1, 2015   |   Confidential, for 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477" y="373381"/>
            <a:ext cx="11175998" cy="266700"/>
          </a:xfrm>
        </p:spPr>
        <p:txBody>
          <a:bodyPr/>
          <a:lstStyle>
            <a:lvl1pPr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04472" y="624841"/>
            <a:ext cx="11176000" cy="266700"/>
          </a:xfrm>
        </p:spPr>
        <p:txBody>
          <a:bodyPr>
            <a:noAutofit/>
          </a:bodyPr>
          <a:lstStyle>
            <a:lvl1pPr marL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700" cap="all">
                <a:solidFill>
                  <a:schemeClr val="tx2"/>
                </a:solidFill>
                <a:latin typeface="Effra Light"/>
              </a:defRPr>
            </a:lvl1pPr>
            <a:lvl2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70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70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70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70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1751"/>
              </a:lnSpc>
              <a:spcAft>
                <a:spcPts val="251"/>
              </a:spcAft>
              <a:buFontTx/>
              <a:buNone/>
              <a:defRPr sz="1700" b="0" i="0" cap="all">
                <a:latin typeface="Effra Light"/>
                <a:cs typeface="Effra Light"/>
              </a:defRPr>
            </a:lvl6pPr>
            <a:lvl7pPr marL="0" indent="0">
              <a:lnSpc>
                <a:spcPts val="1751"/>
              </a:lnSpc>
              <a:spcAft>
                <a:spcPts val="251"/>
              </a:spcAft>
              <a:buFontTx/>
              <a:buNone/>
              <a:defRPr sz="170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6527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ubhead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678" y="345220"/>
            <a:ext cx="11430000" cy="30480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2837" y="567268"/>
            <a:ext cx="11428167" cy="304800"/>
          </a:xfrm>
        </p:spPr>
        <p:txBody>
          <a:bodyPr>
            <a:noAutofit/>
          </a:bodyPr>
          <a:lstStyle>
            <a:lvl1pPr marL="0">
              <a:lnSpc>
                <a:spcPts val="1960"/>
              </a:lnSpc>
              <a:spcAft>
                <a:spcPts val="280"/>
              </a:spcAft>
              <a:buFontTx/>
              <a:buNone/>
              <a:defRPr sz="1800" cap="all">
                <a:solidFill>
                  <a:srgbClr val="004B87"/>
                </a:solidFill>
                <a:latin typeface="Effra Light"/>
              </a:defRPr>
            </a:lvl1pPr>
            <a:lvl2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latin typeface="Effra Light"/>
                <a:cs typeface="Effra Light"/>
              </a:defRPr>
            </a:lvl6pPr>
            <a:lvl7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19927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5E6D01E5-8ED0-44C8-A4BB-84AEE07B89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70723" y="6332068"/>
            <a:ext cx="2067278" cy="564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23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extLst>
    <p:ext uri="{DCECCB84-F9BA-43D5-87BE-67443E8EF086}">
      <p15:sldGuideLst xmlns:p15="http://schemas.microsoft.com/office/powerpoint/2012/main" xmlns="">
        <p15:guide id="1" orient="horz" pos="1008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ubhea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FFFFFF"/>
                </a:solidFill>
              </a:rPr>
              <a:t>Medtronic Confidential April 2015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79678" y="345220"/>
            <a:ext cx="11430000" cy="304800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2837" y="565149"/>
            <a:ext cx="11428167" cy="304800"/>
          </a:xfrm>
        </p:spPr>
        <p:txBody>
          <a:bodyPr>
            <a:noAutofit/>
          </a:bodyPr>
          <a:lstStyle>
            <a:lvl1pPr marL="0">
              <a:lnSpc>
                <a:spcPts val="1960"/>
              </a:lnSpc>
              <a:spcAft>
                <a:spcPts val="280"/>
              </a:spcAft>
              <a:buFontTx/>
              <a:buNone/>
              <a:defRPr sz="1800" cap="all">
                <a:solidFill>
                  <a:schemeClr val="bg2"/>
                </a:solidFill>
                <a:latin typeface="Effra Light"/>
              </a:defRPr>
            </a:lvl1pPr>
            <a:lvl2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latin typeface="Effra Light"/>
                <a:cs typeface="Effra Light"/>
              </a:defRPr>
            </a:lvl6pPr>
            <a:lvl7pPr marL="0" indent="0">
              <a:lnSpc>
                <a:spcPts val="1960"/>
              </a:lnSpc>
              <a:spcAft>
                <a:spcPts val="280"/>
              </a:spcAft>
              <a:buFontTx/>
              <a:buNone/>
              <a:defRPr sz="200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984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0142FD8-0833-4EB5-868D-469CE01B1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039576E-8CB1-49FF-B1A6-4874DF8B4C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xmlns="" id="{EA9233FF-8266-43A6-9BF2-49814F2036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3654" y="6442009"/>
            <a:ext cx="8429103" cy="411163"/>
          </a:xfrm>
        </p:spPr>
        <p:txBody>
          <a:bodyPr>
            <a:noAutofit/>
          </a:bodyPr>
          <a:lstStyle>
            <a:lvl1pPr marL="0" indent="0">
              <a:lnSpc>
                <a:spcPts val="800"/>
              </a:lnSpc>
              <a:spcBef>
                <a:spcPts val="0"/>
              </a:spcBef>
              <a:buNone/>
              <a:defRPr sz="800"/>
            </a:lvl1pPr>
            <a:lvl2pPr marL="456852" indent="0">
              <a:buNone/>
              <a:defRPr sz="800"/>
            </a:lvl2pPr>
            <a:lvl3pPr marL="913703" indent="0">
              <a:buNone/>
              <a:defRPr sz="800"/>
            </a:lvl3pPr>
            <a:lvl4pPr marL="1370555" indent="0">
              <a:buNone/>
              <a:defRPr sz="800"/>
            </a:lvl4pPr>
            <a:lvl5pPr marL="1827413" indent="0">
              <a:buNone/>
              <a:defRPr sz="800"/>
            </a:lvl5pPr>
          </a:lstStyle>
          <a:p>
            <a:pPr lvl="0"/>
            <a:r>
              <a:rPr lang="en-US" dirty="0"/>
              <a:t>1. Insert Footnotes Here</a:t>
            </a:r>
          </a:p>
          <a:p>
            <a:pPr lvl="0"/>
            <a:r>
              <a:rPr lang="en-US" dirty="0"/>
              <a:t>2.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xmlns="" id="{4E58325B-064C-46A1-A82B-410856D1B2B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3654" y="468301"/>
            <a:ext cx="11746833" cy="199704"/>
          </a:xfrm>
        </p:spPr>
        <p:txBody>
          <a:bodyPr anchor="ctr">
            <a:noAutofit/>
          </a:bodyPr>
          <a:lstStyle>
            <a:lvl1pPr marL="0" indent="0">
              <a:buNone/>
              <a:defRPr sz="2400" cap="all" baseline="0">
                <a:solidFill>
                  <a:schemeClr val="accent2"/>
                </a:solidFill>
                <a:latin typeface="Effra Light" panose="020B0403020203020204" pitchFamily="34" charset="0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882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>
                <a:solidFill>
                  <a:srgbClr val="FFFFFF"/>
                </a:solidFill>
              </a:rPr>
              <a:t>EMEA    |   QBR FY18 Q3   |   Confidential, for internal use onl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1000" y="350788"/>
            <a:ext cx="11430000" cy="304800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81000" y="652525"/>
            <a:ext cx="11430000" cy="304800"/>
          </a:xfrm>
        </p:spPr>
        <p:txBody>
          <a:bodyPr>
            <a:noAutofit/>
          </a:bodyPr>
          <a:lstStyle>
            <a:lvl1pPr marL="0">
              <a:lnSpc>
                <a:spcPct val="85000"/>
              </a:lnSpc>
              <a:spcAft>
                <a:spcPts val="0"/>
              </a:spcAft>
              <a:buFontTx/>
              <a:buNone/>
              <a:defRPr sz="2400" cap="all">
                <a:solidFill>
                  <a:schemeClr val="tx2"/>
                </a:solidFill>
                <a:latin typeface="Effra Light"/>
              </a:defRPr>
            </a:lvl1pPr>
            <a:lvl2pPr marL="0" indent="0">
              <a:lnSpc>
                <a:spcPct val="85000"/>
              </a:lnSpc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ct val="85000"/>
              </a:lnSpc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ct val="85000"/>
              </a:lnSpc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ct val="85000"/>
              </a:lnSpc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6pPr>
            <a:lvl7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330506"/>
            <a:ext cx="11430000" cy="4686300"/>
          </a:xfrm>
        </p:spPr>
        <p:txBody>
          <a:bodyPr/>
          <a:lstStyle>
            <a:lvl1pPr>
              <a:spcAft>
                <a:spcPts val="833"/>
              </a:spcAft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5846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Edit Title on Slide Master using Insert &gt; Header &amp; Footer   |   March 25, 2016   |   Confidential, for Internal Use Only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1000" y="350520"/>
            <a:ext cx="11430000" cy="6477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167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Edit Title on Slide Master using Insert &gt; Header &amp; Footer   |   March 25, 2016   |   Confidential, for Internal Use Only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000" y="350520"/>
            <a:ext cx="11430000" cy="64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330854"/>
            <a:ext cx="5713237" cy="4686300"/>
          </a:xfrm>
        </p:spPr>
        <p:txBody>
          <a:bodyPr rIns="18288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6094236" y="1330854"/>
            <a:ext cx="5716764" cy="4686300"/>
          </a:xfrm>
        </p:spPr>
        <p:txBody>
          <a:bodyPr rIns="18288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8877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7AEE45F-127B-48E5-81E4-FE6B7D1334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E4F0CA8D-7740-46AC-AEC3-109673EF88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122C5EC-9BFB-4084-BE18-ACB5066475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3F229-21CD-4B27-970B-1135DE79A357}" type="datetimeFigureOut">
              <a:rPr lang="en-GB" smtClean="0"/>
              <a:t>22/07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8956011-2A30-4597-AF82-17341C0220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876D5E90-B0DD-4203-B162-0CD90DBD5D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DAB1EC-FB01-4E9A-A1E1-6B7E032E61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30184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Edit Title on Slide Master using Insert &gt; Header &amp; Footer   |   March 25, 2016   |   Confidential, for 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50520"/>
            <a:ext cx="11430000" cy="64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7033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Edit Title on Slide Master using Insert &gt; Header &amp; Footer   |   March 25, 2016   |   Confidential,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91587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2 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000" y="351838"/>
            <a:ext cx="11430000" cy="3048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81000" y="652618"/>
            <a:ext cx="11430000" cy="304800"/>
          </a:xfrm>
        </p:spPr>
        <p:txBody>
          <a:bodyPr>
            <a:noAutofit/>
          </a:bodyPr>
          <a:lstStyle>
            <a:lvl1pPr mar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cap="all">
                <a:solidFill>
                  <a:schemeClr val="tx2"/>
                </a:solidFill>
                <a:latin typeface="Effra Light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40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6pPr>
            <a:lvl7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40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330855"/>
            <a:ext cx="5715000" cy="4686300"/>
          </a:xfrm>
        </p:spPr>
        <p:txBody>
          <a:bodyPr rIns="114220"/>
          <a:lstStyle>
            <a:lvl1pPr>
              <a:spcAft>
                <a:spcPts val="833"/>
              </a:spcAft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6094236" y="1330855"/>
            <a:ext cx="5715000" cy="4686300"/>
          </a:xfrm>
        </p:spPr>
        <p:txBody>
          <a:bodyPr rIns="114220"/>
          <a:lstStyle>
            <a:lvl1pPr>
              <a:spcAft>
                <a:spcPts val="833"/>
              </a:spcAft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2450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333" b="1" i="0">
                <a:solidFill>
                  <a:srgbClr val="001E46"/>
                </a:solidFill>
                <a:latin typeface="Effra"/>
                <a:cs typeface="Effr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22/2020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33" b="0" i="0">
                <a:solidFill>
                  <a:schemeClr val="bg1"/>
                </a:solidFill>
                <a:latin typeface="Effra"/>
                <a:cs typeface="Effra"/>
              </a:defRPr>
            </a:lvl1pPr>
          </a:lstStyle>
          <a:p>
            <a:pPr marL="21164">
              <a:lnSpc>
                <a:spcPct val="100000"/>
              </a:lnSpc>
            </a:pPr>
            <a:fld id="{81D60167-4931-47E6-BA6A-407CBD079E47}" type="slidenum">
              <a:rPr lang="x-none" spc="-8" smtClean="0"/>
              <a:pPr marL="21164">
                <a:lnSpc>
                  <a:spcPct val="100000"/>
                </a:lnSpc>
              </a:pPr>
              <a:t>‹#›</a:t>
            </a:fld>
            <a:endParaRPr lang="x-none" spc="-8" dirty="0"/>
          </a:p>
        </p:txBody>
      </p:sp>
    </p:spTree>
    <p:extLst>
      <p:ext uri="{BB962C8B-B14F-4D97-AF65-F5344CB8AC3E}">
        <p14:creationId xmlns:p14="http://schemas.microsoft.com/office/powerpoint/2010/main" val="2524289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A143C3A-1D80-4A22-8ACD-F32AB526F79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x-non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11C6A0D-4D31-48DE-BEE2-3470D9E390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2" indent="0" algn="ctr">
              <a:buNone/>
              <a:defRPr sz="2000"/>
            </a:lvl2pPr>
            <a:lvl3pPr marL="914363" indent="0" algn="ctr">
              <a:buNone/>
              <a:defRPr sz="1800"/>
            </a:lvl3pPr>
            <a:lvl4pPr marL="1371545" indent="0" algn="ctr">
              <a:buNone/>
              <a:defRPr sz="1600"/>
            </a:lvl4pPr>
            <a:lvl5pPr marL="1828727" indent="0" algn="ctr">
              <a:buNone/>
              <a:defRPr sz="1600"/>
            </a:lvl5pPr>
            <a:lvl6pPr marL="2285909" indent="0" algn="ctr">
              <a:buNone/>
              <a:defRPr sz="1600"/>
            </a:lvl6pPr>
            <a:lvl7pPr marL="2743090" indent="0" algn="ctr">
              <a:buNone/>
              <a:defRPr sz="1600"/>
            </a:lvl7pPr>
            <a:lvl8pPr marL="3200272" indent="0" algn="ctr">
              <a:buNone/>
              <a:defRPr sz="1600"/>
            </a:lvl8pPr>
            <a:lvl9pPr marL="3657454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4ACD399-0159-422B-9F9E-48586864E4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C0027F-399E-412D-9C47-888054ACC652}" type="datetimeFigureOut">
              <a:rPr lang="x-none" smtClean="0"/>
              <a:t>22.07.2020</a:t>
            </a:fld>
            <a:endParaRPr lang="x-non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C7BAC97-A701-4036-B13A-97D895991C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x-non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4100986-D445-45BB-8E78-B69CDCFB52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9BF73C-229E-4F72-A565-3259CB07AF1F}" type="slidenum">
              <a:rPr lang="x-none" smtClean="0"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2064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 hasCustomPrompt="1"/>
          </p:nvPr>
        </p:nvSpPr>
        <p:spPr>
          <a:xfrm>
            <a:off x="8763000" y="0"/>
            <a:ext cx="3429000" cy="3429000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>
            <a:normAutofit/>
          </a:bodyPr>
          <a:lstStyle>
            <a:lvl1pPr>
              <a:defRPr sz="1500" b="0" i="0">
                <a:solidFill>
                  <a:schemeClr val="tx2"/>
                </a:solidFill>
                <a:latin typeface="Effra Light"/>
                <a:cs typeface="Effra Light"/>
              </a:defRPr>
            </a:lvl1pPr>
          </a:lstStyle>
          <a:p>
            <a:r>
              <a:rPr lang="en-US" dirty="0"/>
              <a:t>Add photo or leave as solid Color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8763000" y="3429000"/>
            <a:ext cx="3429000" cy="3429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833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81000" y="1330858"/>
            <a:ext cx="4381500" cy="3615241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70000"/>
              </a:lnSpc>
              <a:defRPr/>
            </a:lvl1pPr>
            <a:lvl2pPr>
              <a:lnSpc>
                <a:spcPct val="70000"/>
              </a:lnSpc>
              <a:defRPr/>
            </a:lvl2pPr>
            <a:lvl3pPr>
              <a:lnSpc>
                <a:spcPct val="70000"/>
              </a:lnSpc>
              <a:defRPr/>
            </a:lvl3pPr>
            <a:lvl4pPr>
              <a:lnSpc>
                <a:spcPct val="70000"/>
              </a:lnSpc>
              <a:defRPr/>
            </a:lvl4pPr>
            <a:lvl5pPr>
              <a:lnSpc>
                <a:spcPct val="7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81000" y="5935175"/>
            <a:ext cx="4381500" cy="595507"/>
          </a:xfrm>
        </p:spPr>
        <p:txBody>
          <a:bodyPr>
            <a:normAutofit/>
          </a:bodyPr>
          <a:lstStyle>
            <a:lvl1pPr>
              <a:lnSpc>
                <a:spcPts val="1500"/>
              </a:lnSpc>
              <a:defRPr sz="1500" b="0" i="0">
                <a:solidFill>
                  <a:schemeClr val="tx2"/>
                </a:solidFill>
                <a:latin typeface="Effra"/>
                <a:cs typeface="Effra Light"/>
              </a:defRPr>
            </a:lvl1pPr>
            <a:lvl2pPr>
              <a:lnSpc>
                <a:spcPts val="1500"/>
              </a:lnSpc>
              <a:defRPr sz="1500" b="1">
                <a:solidFill>
                  <a:schemeClr val="tx2"/>
                </a:solidFill>
                <a:latin typeface="+mn-lt"/>
              </a:defRPr>
            </a:lvl2pPr>
            <a:lvl3pPr>
              <a:lnSpc>
                <a:spcPts val="1500"/>
              </a:lnSpc>
              <a:defRPr sz="1500" b="0">
                <a:solidFill>
                  <a:schemeClr val="tx2"/>
                </a:solidFill>
                <a:latin typeface="+mn-lt"/>
              </a:defRPr>
            </a:lvl3pPr>
            <a:lvl4pPr>
              <a:lnSpc>
                <a:spcPts val="1500"/>
              </a:lnSpc>
              <a:defRPr sz="1500">
                <a:solidFill>
                  <a:schemeClr val="tx2"/>
                </a:solidFill>
                <a:latin typeface="+mn-lt"/>
              </a:defRPr>
            </a:lvl4pPr>
            <a:lvl5pPr>
              <a:lnSpc>
                <a:spcPts val="1500"/>
              </a:lnSpc>
              <a:defRPr sz="15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381000" y="346463"/>
            <a:ext cx="4381500" cy="190500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5334000" y="0"/>
            <a:ext cx="3429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1500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4515" y="5639887"/>
            <a:ext cx="2513401" cy="1144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3374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Title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81000" y="1330853"/>
            <a:ext cx="9144000" cy="438150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>
              <a:lnSpc>
                <a:spcPct val="70000"/>
              </a:lnSpc>
              <a:defRPr sz="8333" b="1" i="0" baseline="0">
                <a:solidFill>
                  <a:schemeClr val="tx2"/>
                </a:solidFill>
                <a:latin typeface="+mj-lt"/>
                <a:cs typeface="Effra"/>
              </a:defRPr>
            </a:lvl1pPr>
            <a:lvl2pPr>
              <a:lnSpc>
                <a:spcPct val="70000"/>
              </a:lnSpc>
              <a:defRPr sz="8333" b="0" baseline="0">
                <a:solidFill>
                  <a:schemeClr val="tx2"/>
                </a:solidFill>
                <a:latin typeface="Effra Light"/>
                <a:cs typeface="Effra Light"/>
              </a:defRPr>
            </a:lvl2pPr>
            <a:lvl3pPr>
              <a:lnSpc>
                <a:spcPct val="70000"/>
              </a:lnSpc>
              <a:defRPr sz="8333" b="1" i="0" baseline="0">
                <a:solidFill>
                  <a:schemeClr val="bg1"/>
                </a:solidFill>
                <a:latin typeface="+mj-lt"/>
              </a:defRPr>
            </a:lvl3pPr>
            <a:lvl4pPr>
              <a:lnSpc>
                <a:spcPct val="70000"/>
              </a:lnSpc>
              <a:defRPr sz="8333" b="1" baseline="0">
                <a:latin typeface="+mj-lt"/>
              </a:defRPr>
            </a:lvl4pPr>
            <a:lvl5pPr>
              <a:lnSpc>
                <a:spcPct val="70000"/>
              </a:lnSpc>
              <a:defRPr sz="8333" baseline="0">
                <a:solidFill>
                  <a:schemeClr val="tx2"/>
                </a:solidFill>
                <a:latin typeface="Effra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81000" y="5932914"/>
            <a:ext cx="6096000" cy="574908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>
              <a:lnSpc>
                <a:spcPts val="1500"/>
              </a:lnSpc>
              <a:defRPr sz="1500" b="0">
                <a:solidFill>
                  <a:schemeClr val="tx2"/>
                </a:solidFill>
                <a:latin typeface="+mn-lt"/>
              </a:defRPr>
            </a:lvl1pPr>
            <a:lvl2pPr>
              <a:lnSpc>
                <a:spcPts val="1500"/>
              </a:lnSpc>
              <a:defRPr sz="1500" b="1">
                <a:solidFill>
                  <a:schemeClr val="tx2"/>
                </a:solidFill>
                <a:latin typeface="+mn-lt"/>
              </a:defRPr>
            </a:lvl2pPr>
            <a:lvl3pPr>
              <a:lnSpc>
                <a:spcPts val="1500"/>
              </a:lnSpc>
              <a:defRPr sz="1500">
                <a:solidFill>
                  <a:schemeClr val="tx2"/>
                </a:solidFill>
                <a:latin typeface="+mn-lt"/>
              </a:defRPr>
            </a:lvl3pPr>
            <a:lvl4pPr>
              <a:lnSpc>
                <a:spcPts val="1500"/>
              </a:lnSpc>
              <a:defRPr sz="1500">
                <a:solidFill>
                  <a:schemeClr val="tx2"/>
                </a:solidFill>
                <a:latin typeface="+mn-lt"/>
              </a:defRPr>
            </a:lvl4pPr>
            <a:lvl5pPr>
              <a:lnSpc>
                <a:spcPts val="1500"/>
              </a:lnSpc>
              <a:defRPr sz="1500"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381000" y="346463"/>
            <a:ext cx="6096000" cy="190500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200" y="5638800"/>
            <a:ext cx="2513542" cy="1144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8246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Titl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81000" y="1330853"/>
            <a:ext cx="9144000" cy="438150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>
              <a:lnSpc>
                <a:spcPct val="70000"/>
              </a:lnSpc>
              <a:defRPr sz="8333" b="1" i="0" baseline="0">
                <a:solidFill>
                  <a:schemeClr val="tx1"/>
                </a:solidFill>
                <a:latin typeface="+mj-lt"/>
                <a:cs typeface="Effra"/>
              </a:defRPr>
            </a:lvl1pPr>
            <a:lvl2pPr>
              <a:lnSpc>
                <a:spcPct val="70000"/>
              </a:lnSpc>
              <a:defRPr sz="8333" b="0" baseline="0">
                <a:solidFill>
                  <a:schemeClr val="tx1"/>
                </a:solidFill>
                <a:latin typeface="Effra Light"/>
                <a:cs typeface="Effra Light"/>
              </a:defRPr>
            </a:lvl2pPr>
            <a:lvl3pPr>
              <a:lnSpc>
                <a:spcPct val="70000"/>
              </a:lnSpc>
              <a:defRPr sz="8333" b="1" i="0" baseline="0">
                <a:solidFill>
                  <a:srgbClr val="77BC1F"/>
                </a:solidFill>
              </a:defRPr>
            </a:lvl3pPr>
            <a:lvl4pPr>
              <a:lnSpc>
                <a:spcPct val="70000"/>
              </a:lnSpc>
              <a:defRPr sz="8333" b="1" baseline="0"/>
            </a:lvl4pPr>
            <a:lvl5pPr>
              <a:lnSpc>
                <a:spcPct val="70000"/>
              </a:lnSpc>
              <a:defRPr sz="8333" baseline="0">
                <a:latin typeface="Effra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81000" y="5932566"/>
            <a:ext cx="5080000" cy="758857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>
              <a:lnSpc>
                <a:spcPts val="1500"/>
              </a:lnSpc>
              <a:defRPr sz="1500" b="0">
                <a:solidFill>
                  <a:schemeClr val="accent1"/>
                </a:solidFill>
                <a:latin typeface="+mn-lt"/>
              </a:defRPr>
            </a:lvl1pPr>
            <a:lvl2pPr>
              <a:lnSpc>
                <a:spcPts val="1500"/>
              </a:lnSpc>
              <a:defRPr sz="1500" b="1">
                <a:solidFill>
                  <a:schemeClr val="accent1"/>
                </a:solidFill>
                <a:latin typeface="+mn-lt"/>
              </a:defRPr>
            </a:lvl2pPr>
            <a:lvl3pPr>
              <a:lnSpc>
                <a:spcPts val="1500"/>
              </a:lnSpc>
              <a:defRPr sz="1500" b="0">
                <a:solidFill>
                  <a:schemeClr val="accent1"/>
                </a:solidFill>
                <a:latin typeface="+mn-lt"/>
              </a:defRPr>
            </a:lvl3pPr>
            <a:lvl4pPr>
              <a:lnSpc>
                <a:spcPts val="1500"/>
              </a:lnSpc>
              <a:defRPr sz="1500">
                <a:solidFill>
                  <a:schemeClr val="accent1"/>
                </a:solidFill>
                <a:latin typeface="+mn-lt"/>
              </a:defRPr>
            </a:lvl4pPr>
            <a:lvl5pPr>
              <a:lnSpc>
                <a:spcPts val="1500"/>
              </a:lnSpc>
              <a:defRPr sz="1500">
                <a:solidFill>
                  <a:schemeClr val="accent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381000" y="346463"/>
            <a:ext cx="6096000" cy="190500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200" y="5637707"/>
            <a:ext cx="2513401" cy="1144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641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Title 4 (Photo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200" y="5640529"/>
            <a:ext cx="2513542" cy="1144095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477000" y="1330853"/>
            <a:ext cx="4953000" cy="371475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>
              <a:lnSpc>
                <a:spcPct val="70000"/>
              </a:lnSpc>
              <a:defRPr sz="5583" b="1" i="0" baseline="0">
                <a:solidFill>
                  <a:schemeClr val="bg2"/>
                </a:solidFill>
                <a:latin typeface="+mj-lt"/>
                <a:cs typeface="Effra"/>
              </a:defRPr>
            </a:lvl1pPr>
            <a:lvl2pPr>
              <a:lnSpc>
                <a:spcPct val="70000"/>
              </a:lnSpc>
              <a:defRPr sz="5583" b="0" baseline="0">
                <a:solidFill>
                  <a:schemeClr val="tx1"/>
                </a:solidFill>
                <a:latin typeface="Effra Light"/>
                <a:cs typeface="Effra Light"/>
              </a:defRPr>
            </a:lvl2pPr>
            <a:lvl3pPr>
              <a:lnSpc>
                <a:spcPct val="70000"/>
              </a:lnSpc>
              <a:defRPr sz="5583" b="1" i="0" baseline="0">
                <a:solidFill>
                  <a:schemeClr val="bg1"/>
                </a:solidFill>
              </a:defRPr>
            </a:lvl3pPr>
            <a:lvl4pPr>
              <a:lnSpc>
                <a:spcPct val="70000"/>
              </a:lnSpc>
              <a:defRPr sz="5583" b="1" baseline="0">
                <a:solidFill>
                  <a:schemeClr val="bg2"/>
                </a:solidFill>
              </a:defRPr>
            </a:lvl4pPr>
            <a:lvl5pPr>
              <a:lnSpc>
                <a:spcPct val="70000"/>
              </a:lnSpc>
              <a:defRPr sz="5583" baseline="0">
                <a:solidFill>
                  <a:schemeClr val="bg2"/>
                </a:solidFill>
                <a:latin typeface="Effra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 vert="horz" lIns="1371600" rIns="1371600" anchor="ctr">
            <a:normAutofit/>
          </a:bodyPr>
          <a:lstStyle>
            <a:lvl1pPr>
              <a:defRPr sz="1500" b="0" i="0" baseline="0">
                <a:solidFill>
                  <a:schemeClr val="tx2"/>
                </a:solidFill>
                <a:latin typeface="Effra Light"/>
                <a:cs typeface="Effra Light"/>
              </a:defRPr>
            </a:lvl1pPr>
          </a:lstStyle>
          <a:p>
            <a:r>
              <a:rPr lang="en-US" dirty="0"/>
              <a:t>Note that the frame device sits on top of the slide; It will need to be pasted onto any new title 4 slid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6477000" y="804479"/>
            <a:ext cx="4953000" cy="190500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09142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Title 5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25"/>
          <a:stretch/>
        </p:blipFill>
        <p:spPr>
          <a:xfrm>
            <a:off x="9143210" y="1183968"/>
            <a:ext cx="3048791" cy="444095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01200" y="5640529"/>
            <a:ext cx="2513542" cy="1144095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81000" y="1330853"/>
            <a:ext cx="8610600" cy="4381500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>
              <a:lnSpc>
                <a:spcPct val="70000"/>
              </a:lnSpc>
              <a:defRPr sz="8333" b="1" i="0" baseline="0">
                <a:solidFill>
                  <a:schemeClr val="tx1"/>
                </a:solidFill>
                <a:latin typeface="+mj-lt"/>
                <a:cs typeface="Effra"/>
              </a:defRPr>
            </a:lvl1pPr>
            <a:lvl2pPr>
              <a:lnSpc>
                <a:spcPct val="70000"/>
              </a:lnSpc>
              <a:defRPr sz="8333" b="0" baseline="0">
                <a:solidFill>
                  <a:schemeClr val="tx1"/>
                </a:solidFill>
                <a:latin typeface="Effra Light"/>
                <a:cs typeface="Effra Light"/>
              </a:defRPr>
            </a:lvl2pPr>
            <a:lvl3pPr>
              <a:lnSpc>
                <a:spcPct val="70000"/>
              </a:lnSpc>
              <a:defRPr sz="8333" b="1" i="0" baseline="0">
                <a:solidFill>
                  <a:schemeClr val="bg2"/>
                </a:solidFill>
                <a:latin typeface="+mj-lt"/>
              </a:defRPr>
            </a:lvl3pPr>
            <a:lvl4pPr>
              <a:lnSpc>
                <a:spcPct val="70000"/>
              </a:lnSpc>
              <a:defRPr sz="8333" b="1" baseline="0">
                <a:solidFill>
                  <a:schemeClr val="tx1"/>
                </a:solidFill>
                <a:latin typeface="+mj-lt"/>
              </a:defRPr>
            </a:lvl4pPr>
            <a:lvl5pPr>
              <a:lnSpc>
                <a:spcPct val="70000"/>
              </a:lnSpc>
              <a:defRPr sz="8333" baseline="0">
                <a:solidFill>
                  <a:schemeClr val="tx1"/>
                </a:solidFill>
                <a:latin typeface="Effra 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81000" y="5932914"/>
            <a:ext cx="6096000" cy="574908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>
            <a:lvl1pPr>
              <a:lnSpc>
                <a:spcPts val="1500"/>
              </a:lnSpc>
              <a:defRPr sz="1500" b="0">
                <a:solidFill>
                  <a:schemeClr val="tx1"/>
                </a:solidFill>
                <a:latin typeface="+mn-lt"/>
              </a:defRPr>
            </a:lvl1pPr>
            <a:lvl2pPr>
              <a:lnSpc>
                <a:spcPts val="1500"/>
              </a:lnSpc>
              <a:defRPr sz="1500" b="1">
                <a:solidFill>
                  <a:schemeClr val="tx1"/>
                </a:solidFill>
                <a:latin typeface="+mn-lt"/>
              </a:defRPr>
            </a:lvl2pPr>
            <a:lvl3pPr>
              <a:lnSpc>
                <a:spcPts val="1500"/>
              </a:lnSpc>
              <a:defRPr sz="1500">
                <a:solidFill>
                  <a:schemeClr val="tx1"/>
                </a:solidFill>
                <a:latin typeface="+mn-lt"/>
              </a:defRPr>
            </a:lvl3pPr>
            <a:lvl4pPr>
              <a:lnSpc>
                <a:spcPts val="1500"/>
              </a:lnSpc>
              <a:defRPr sz="1500">
                <a:solidFill>
                  <a:schemeClr val="tx1"/>
                </a:solidFill>
                <a:latin typeface="+mn-lt"/>
              </a:defRPr>
            </a:lvl4pPr>
            <a:lvl5pPr>
              <a:lnSpc>
                <a:spcPts val="1500"/>
              </a:lnSpc>
              <a:defRPr sz="15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381000" y="346463"/>
            <a:ext cx="6096000" cy="190500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2pPr>
            <a:lvl3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3pPr>
            <a:lvl4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4pPr>
            <a:lvl5pPr>
              <a:lnSpc>
                <a:spcPct val="100000"/>
              </a:lnSpc>
              <a:buFontTx/>
              <a:buNone/>
              <a:defRPr sz="1000" b="0" i="0" cap="none" baseline="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044213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87F5DEE-EE7A-47F0-AA6D-60A3B80315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C3307D3-1540-45CE-9217-D696612FEE3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3ECBEAC3-1F60-4454-8B2A-B5D8DF1D0E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77FB35B2-7F7D-47DC-9F49-A1EA46C34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3F229-21CD-4B27-970B-1135DE79A357}" type="datetimeFigureOut">
              <a:rPr lang="en-GB" smtClean="0"/>
              <a:t>22/07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80EB335-C3EE-4F9B-95C7-C4A3A2E87F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A8EA65B4-8559-47B3-83A9-B5ED9C5C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DAB1EC-FB01-4E9A-A1E1-6B7E032E61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921946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Divid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/>
          <p:cNvSpPr/>
          <p:nvPr userDrawn="1"/>
        </p:nvSpPr>
        <p:spPr>
          <a:xfrm>
            <a:off x="381000" y="379678"/>
            <a:ext cx="11430000" cy="5238750"/>
          </a:xfrm>
          <a:prstGeom prst="frame">
            <a:avLst>
              <a:gd name="adj1" fmla="val 1811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/>
            <a:endParaRPr lang="en-US" sz="1833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62000" y="762000"/>
            <a:ext cx="7239000" cy="4381500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70000"/>
              </a:lnSpc>
              <a:defRPr sz="4333" b="1" i="0">
                <a:solidFill>
                  <a:srgbClr val="FFCE00"/>
                </a:solidFill>
                <a:latin typeface="+mj-lt"/>
              </a:defRPr>
            </a:lvl1pPr>
            <a:lvl2pPr>
              <a:lnSpc>
                <a:spcPct val="70000"/>
              </a:lnSpc>
              <a:defRPr sz="4333" b="0" i="0">
                <a:solidFill>
                  <a:schemeClr val="bg1"/>
                </a:solidFill>
                <a:latin typeface="Effra Light"/>
              </a:defRPr>
            </a:lvl2pPr>
            <a:lvl3pPr>
              <a:lnSpc>
                <a:spcPct val="70000"/>
              </a:lnSpc>
              <a:defRPr sz="4333" b="0" i="0">
                <a:solidFill>
                  <a:schemeClr val="tx1"/>
                </a:solidFill>
                <a:latin typeface="+mj-lt"/>
              </a:defRPr>
            </a:lvl3pPr>
            <a:lvl4pPr>
              <a:lnSpc>
                <a:spcPct val="70000"/>
              </a:lnSpc>
              <a:defRPr sz="4333" b="1" i="0">
                <a:solidFill>
                  <a:schemeClr val="tx2"/>
                </a:solidFill>
                <a:latin typeface="+mj-lt"/>
              </a:defRPr>
            </a:lvl4pPr>
            <a:lvl5pPr>
              <a:lnSpc>
                <a:spcPct val="70000"/>
              </a:lnSpc>
              <a:defRPr sz="4333" b="0" i="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200" y="5640529"/>
            <a:ext cx="2513542" cy="1144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4000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Divider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/>
          <p:cNvSpPr/>
          <p:nvPr userDrawn="1"/>
        </p:nvSpPr>
        <p:spPr>
          <a:xfrm>
            <a:off x="381000" y="379678"/>
            <a:ext cx="11430000" cy="5238750"/>
          </a:xfrm>
          <a:prstGeom prst="frame">
            <a:avLst>
              <a:gd name="adj1" fmla="val 1811"/>
            </a:avLst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/>
            <a:endParaRPr lang="en-US" sz="1833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62000" y="761999"/>
            <a:ext cx="7239000" cy="4381500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70000"/>
              </a:lnSpc>
              <a:defRPr sz="4333" b="1" i="0">
                <a:solidFill>
                  <a:srgbClr val="77BC1F"/>
                </a:solidFill>
                <a:latin typeface="+mj-lt"/>
              </a:defRPr>
            </a:lvl1pPr>
            <a:lvl2pPr>
              <a:lnSpc>
                <a:spcPct val="70000"/>
              </a:lnSpc>
              <a:defRPr sz="4333" b="0" i="0">
                <a:solidFill>
                  <a:schemeClr val="tx1"/>
                </a:solidFill>
                <a:latin typeface="Effra Light"/>
              </a:defRPr>
            </a:lvl2pPr>
            <a:lvl3pPr>
              <a:lnSpc>
                <a:spcPct val="70000"/>
              </a:lnSpc>
              <a:defRPr sz="4333" b="0" i="0">
                <a:solidFill>
                  <a:schemeClr val="accent3"/>
                </a:solidFill>
                <a:latin typeface="+mj-lt"/>
              </a:defRPr>
            </a:lvl3pPr>
            <a:lvl4pPr>
              <a:lnSpc>
                <a:spcPct val="70000"/>
              </a:lnSpc>
              <a:defRPr sz="4333" b="1" i="0">
                <a:solidFill>
                  <a:schemeClr val="tx2"/>
                </a:solidFill>
                <a:latin typeface="+mj-lt"/>
              </a:defRPr>
            </a:lvl4pPr>
            <a:lvl5pPr>
              <a:lnSpc>
                <a:spcPct val="70000"/>
              </a:lnSpc>
              <a:defRPr sz="4333" b="0" i="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200" y="5640529"/>
            <a:ext cx="2513542" cy="1144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2970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Divider 3 (Photo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379678"/>
            <a:ext cx="4953000" cy="5524500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70000"/>
              </a:lnSpc>
              <a:defRPr sz="4333" b="1" i="0">
                <a:solidFill>
                  <a:srgbClr val="B0008E"/>
                </a:solidFill>
                <a:latin typeface="+mj-lt"/>
              </a:defRPr>
            </a:lvl1pPr>
            <a:lvl2pPr>
              <a:lnSpc>
                <a:spcPct val="70000"/>
              </a:lnSpc>
              <a:defRPr sz="4333" b="0" i="0">
                <a:solidFill>
                  <a:schemeClr val="tx1"/>
                </a:solidFill>
                <a:latin typeface="Effra Light"/>
              </a:defRPr>
            </a:lvl2pPr>
            <a:lvl3pPr>
              <a:lnSpc>
                <a:spcPct val="70000"/>
              </a:lnSpc>
              <a:defRPr sz="4333" b="0" i="0">
                <a:solidFill>
                  <a:schemeClr val="accent1"/>
                </a:solidFill>
                <a:latin typeface="+mj-lt"/>
              </a:defRPr>
            </a:lvl3pPr>
            <a:lvl4pPr>
              <a:lnSpc>
                <a:spcPct val="70000"/>
              </a:lnSpc>
              <a:defRPr sz="4333" b="1" i="0">
                <a:solidFill>
                  <a:schemeClr val="tx2"/>
                </a:solidFill>
                <a:latin typeface="+mj-lt"/>
              </a:defRPr>
            </a:lvl4pPr>
            <a:lvl5pPr>
              <a:lnSpc>
                <a:spcPct val="70000"/>
              </a:lnSpc>
              <a:defRPr sz="4333" b="0" i="0">
                <a:solidFill>
                  <a:schemeClr val="bg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6096003" y="0"/>
            <a:ext cx="6095999" cy="6858000"/>
          </a:xfrm>
          <a:prstGeom prst="rect">
            <a:avLst/>
          </a:prstGeom>
        </p:spPr>
        <p:txBody>
          <a:bodyPr vert="horz" lIns="91440" tIns="45720" rIns="91440" bIns="45720">
            <a:normAutofit/>
          </a:bodyPr>
          <a:lstStyle>
            <a:lvl1pPr marL="0" marR="0" indent="0" algn="l" defTabSz="457029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="0" i="0">
                <a:solidFill>
                  <a:schemeClr val="bg2"/>
                </a:solidFill>
                <a:latin typeface="Effra Light"/>
                <a:cs typeface="Effra Light"/>
              </a:defRPr>
            </a:lvl1pPr>
          </a:lstStyle>
          <a:p>
            <a:r>
              <a:rPr lang="en-US" dirty="0"/>
              <a:t>Note that the plus symbol and Logo sit on top of the slide; they will need to be pasted onto any new design Divider 3 slide; dark photo may require a reversed logo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99701" y="5638800"/>
            <a:ext cx="2513401" cy="1144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2990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dvanced Divider 4 (Photo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379678"/>
            <a:ext cx="4953000" cy="5043118"/>
          </a:xfrm>
          <a:prstGeom prst="rect">
            <a:avLst/>
          </a:prstGeom>
        </p:spPr>
        <p:txBody>
          <a:bodyPr vert="horz" lIns="0" tIns="0" rIns="0" bIns="0"/>
          <a:lstStyle>
            <a:lvl1pPr>
              <a:lnSpc>
                <a:spcPct val="70000"/>
              </a:lnSpc>
              <a:defRPr sz="4333" b="1" i="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70000"/>
              </a:lnSpc>
              <a:defRPr sz="4333" b="0" i="0">
                <a:solidFill>
                  <a:schemeClr val="tx1"/>
                </a:solidFill>
                <a:latin typeface="Effra Light"/>
              </a:defRPr>
            </a:lvl2pPr>
            <a:lvl3pPr>
              <a:lnSpc>
                <a:spcPct val="70000"/>
              </a:lnSpc>
              <a:defRPr sz="4333" b="0" i="0">
                <a:solidFill>
                  <a:schemeClr val="accent1"/>
                </a:solidFill>
                <a:latin typeface="+mj-lt"/>
              </a:defRPr>
            </a:lvl3pPr>
            <a:lvl4pPr>
              <a:lnSpc>
                <a:spcPct val="70000"/>
              </a:lnSpc>
              <a:defRPr sz="4333" b="1" i="0">
                <a:solidFill>
                  <a:schemeClr val="tx2"/>
                </a:solidFill>
                <a:latin typeface="+mj-lt"/>
              </a:defRPr>
            </a:lvl4pPr>
            <a:lvl5pPr>
              <a:lnSpc>
                <a:spcPct val="70000"/>
              </a:lnSpc>
              <a:defRPr sz="4333" b="0" i="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 hasCustomPrompt="1"/>
          </p:nvPr>
        </p:nvSpPr>
        <p:spPr>
          <a:xfrm>
            <a:off x="6096003" y="0"/>
            <a:ext cx="6095999" cy="6858000"/>
          </a:xfrm>
          <a:prstGeom prst="rect">
            <a:avLst/>
          </a:prstGeom>
        </p:spPr>
        <p:txBody>
          <a:bodyPr vert="horz" lIns="91440" tIns="45720" rIns="91440" bIns="45720">
            <a:normAutofit/>
          </a:bodyPr>
          <a:lstStyle>
            <a:lvl1pPr marL="0" marR="0" indent="0" algn="l" defTabSz="457029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500" b="0" i="0">
                <a:solidFill>
                  <a:schemeClr val="accent1"/>
                </a:solidFill>
                <a:latin typeface="Effra Light"/>
                <a:cs typeface="Effra Light"/>
              </a:defRPr>
            </a:lvl1pPr>
          </a:lstStyle>
          <a:p>
            <a:r>
              <a:rPr lang="en-US" dirty="0"/>
              <a:t>Note that the plus symbol and Logo sit on top of the slide; they will need to be pasted onto any new design Divider 4 slide; dark photo may require a reversed logo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599701" y="5638800"/>
            <a:ext cx="2513401" cy="11440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1506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26F50D-BE1F-44D9-9A54-3814BD96D4B3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CARELINK HYPERCARE 2019  |   October 24, 2019   |   Confidential, for internal use only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1000" y="350520"/>
            <a:ext cx="11430000" cy="6477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86067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26F50D-BE1F-44D9-9A54-3814BD96D4B3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CARELINK HYPERCARE 2019  |   October 24, 2019   |   Confidential, for internal use only</a:t>
            </a:r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000" y="350520"/>
            <a:ext cx="11430000" cy="64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330854"/>
            <a:ext cx="5713237" cy="4686300"/>
          </a:xfrm>
        </p:spPr>
        <p:txBody>
          <a:bodyPr r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6096000" y="1330854"/>
            <a:ext cx="5715000" cy="4686300"/>
          </a:xfrm>
        </p:spPr>
        <p:txBody>
          <a:bodyPr r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07372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26F50D-BE1F-44D9-9A54-3814BD96D4B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CARELINK HYPERCARE 2019  |   October 24, 2019   |   Confidential, for internal use only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50520"/>
            <a:ext cx="11430000" cy="64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715758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326F50D-BE1F-44D9-9A54-3814BD96D4B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CARELINK HYPERCARE 2019  |   October 24, 2019   |   Confidential, for internal use on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442642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CARELINK HYPERCARE 2019  |   October 24, 2019   |   Confidential, for internal use only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04475" y="373379"/>
            <a:ext cx="11175999" cy="2667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504475" y="625898"/>
            <a:ext cx="11175999" cy="266700"/>
          </a:xfrm>
        </p:spPr>
        <p:txBody>
          <a:bodyPr>
            <a:noAutofit/>
          </a:bodyPr>
          <a:lstStyle>
            <a:lvl1pPr marL="0">
              <a:lnSpc>
                <a:spcPts val="2000"/>
              </a:lnSpc>
              <a:spcAft>
                <a:spcPts val="0"/>
              </a:spcAft>
              <a:buFontTx/>
              <a:buNone/>
              <a:defRPr sz="2300" cap="all">
                <a:solidFill>
                  <a:schemeClr val="tx2"/>
                </a:solidFill>
                <a:latin typeface="Effra Light"/>
              </a:defRPr>
            </a:lvl1pPr>
            <a:lvl2pPr marL="0" indent="0">
              <a:lnSpc>
                <a:spcPts val="2000"/>
              </a:lnSpc>
              <a:spcAft>
                <a:spcPts val="0"/>
              </a:spcAft>
              <a:buFontTx/>
              <a:buNone/>
              <a:defRPr sz="230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ts val="2000"/>
              </a:lnSpc>
              <a:spcAft>
                <a:spcPts val="0"/>
              </a:spcAft>
              <a:buFontTx/>
              <a:buNone/>
              <a:defRPr sz="230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ts val="2000"/>
              </a:lnSpc>
              <a:spcAft>
                <a:spcPts val="0"/>
              </a:spcAft>
              <a:buFontTx/>
              <a:buNone/>
              <a:defRPr sz="230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ts val="2000"/>
              </a:lnSpc>
              <a:spcAft>
                <a:spcPts val="0"/>
              </a:spcAft>
              <a:buFontTx/>
              <a:buNone/>
              <a:defRPr sz="230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300" b="0" i="0" cap="all">
                <a:latin typeface="Effra Light"/>
                <a:cs typeface="Effra Light"/>
              </a:defRPr>
            </a:lvl6pPr>
            <a:lvl7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30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882050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vider 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/>
          <p:cNvSpPr/>
          <p:nvPr/>
        </p:nvSpPr>
        <p:spPr>
          <a:xfrm>
            <a:off x="381000" y="381000"/>
            <a:ext cx="11430000" cy="5242560"/>
          </a:xfrm>
          <a:prstGeom prst="frame">
            <a:avLst>
              <a:gd name="adj1" fmla="val 1811"/>
            </a:avLst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algn="ctr"/>
            <a:endParaRPr lang="en-US" sz="1833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62000" y="706443"/>
            <a:ext cx="7239000" cy="43815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03374" y="5638801"/>
            <a:ext cx="2513542" cy="1144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7368693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576">
          <p15:clr>
            <a:srgbClr val="FBAE40"/>
          </p15:clr>
        </p15:guide>
        <p15:guide id="2" pos="57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101AE11-5C5E-4CB2-A0D1-885FA6CAD6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CFE4E069-C0B3-4B8E-B2C1-EABFCF546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358564E2-B6D7-4240-9578-FB89924777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0833DD71-885A-4957-BF2A-238BE58A50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1D994993-E0B6-4F15-913F-C8CD0BC2FCC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145F7F7D-3569-412A-B267-299EBE029F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3F229-21CD-4B27-970B-1135DE79A357}" type="datetimeFigureOut">
              <a:rPr lang="en-GB" smtClean="0"/>
              <a:t>22/07/2020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2B47B251-C5D7-47DF-BFF4-DFD6C89BC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9A61561A-EA3B-4216-ABFD-E3CA5D0F6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DAB1EC-FB01-4E9A-A1E1-6B7E032E61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217269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000" b="1" i="0">
                <a:solidFill>
                  <a:srgbClr val="71C5E8"/>
                </a:solidFill>
                <a:latin typeface="Effra"/>
                <a:cs typeface="Effr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001E46"/>
                </a:solidFill>
                <a:latin typeface="Effra"/>
                <a:cs typeface="Effr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CARELINK HYPERCARE 2019  |   October 24, 2019   |   Confidential, for internal use only</a:t>
            </a:r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6118787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026966C1-D655-48FA-9179-074B2C3775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342760">
              <a:defRPr/>
            </a:pPr>
            <a:fld id="{A3032E39-2DD7-6341-87B9-9AB98FE36691}" type="slidenum">
              <a:rPr lang="en-US" smtClean="0">
                <a:solidFill>
                  <a:srgbClr val="FFFFFF">
                    <a:tint val="75000"/>
                  </a:srgbClr>
                </a:solidFill>
              </a:rPr>
              <a:pPr defTabSz="342760">
                <a:defRPr/>
              </a:pPr>
              <a:t>‹#›</a:t>
            </a:fld>
            <a:endParaRPr lang="en-US" dirty="0">
              <a:solidFill>
                <a:srgbClr val="FFFFFF">
                  <a:tint val="75000"/>
                </a:srgb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F5E154A-3603-4CCB-B2D6-8C72DAEF5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342760">
              <a:defRPr/>
            </a:pPr>
            <a:r>
              <a:rPr lang="en-GB">
                <a:solidFill>
                  <a:srgbClr val="FFFFFF"/>
                </a:solidFill>
              </a:rPr>
              <a:t>CARELINK HYPERCARE 2019  |   October 24, 2019   |   Confidential, for internal use onl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B5BB5853-E034-4311-8235-62961F07E2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679" y="345220"/>
            <a:ext cx="11430000" cy="304800"/>
          </a:xfrm>
        </p:spPr>
        <p:txBody>
          <a:bodyPr/>
          <a:lstStyle>
            <a:lvl1pPr>
              <a:defRPr sz="135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BC9202AD-2249-4D38-AEBD-415C6B0BB6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330503"/>
            <a:ext cx="11430000" cy="4686300"/>
          </a:xfrm>
        </p:spPr>
        <p:txBody>
          <a:bodyPr/>
          <a:lstStyle>
            <a:lvl1pPr>
              <a:spcAft>
                <a:spcPts val="625"/>
              </a:spcAft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xmlns="" id="{60B7D01D-FAEC-4BBA-9E1C-6967F9E2417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2836" y="556685"/>
            <a:ext cx="11428167" cy="304800"/>
          </a:xfrm>
        </p:spPr>
        <p:txBody>
          <a:bodyPr>
            <a:noAutofit/>
          </a:bodyPr>
          <a:lstStyle>
            <a:lvl1pPr marL="0">
              <a:lnSpc>
                <a:spcPts val="1470"/>
              </a:lnSpc>
              <a:spcAft>
                <a:spcPts val="210"/>
              </a:spcAft>
              <a:buFontTx/>
              <a:buNone/>
              <a:defRPr sz="1350" cap="all">
                <a:solidFill>
                  <a:srgbClr val="004B87"/>
                </a:solidFill>
                <a:latin typeface="Effra Light"/>
              </a:defRPr>
            </a:lvl1pPr>
            <a:lvl2pPr marL="0" indent="0">
              <a:lnSpc>
                <a:spcPts val="1470"/>
              </a:lnSpc>
              <a:spcAft>
                <a:spcPts val="210"/>
              </a:spcAft>
              <a:buFontTx/>
              <a:buNone/>
              <a:defRPr sz="150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ts val="1470"/>
              </a:lnSpc>
              <a:spcAft>
                <a:spcPts val="210"/>
              </a:spcAft>
              <a:buFontTx/>
              <a:buNone/>
              <a:defRPr sz="150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ts val="1470"/>
              </a:lnSpc>
              <a:spcAft>
                <a:spcPts val="210"/>
              </a:spcAft>
              <a:buFontTx/>
              <a:buNone/>
              <a:defRPr sz="150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ts val="1470"/>
              </a:lnSpc>
              <a:spcAft>
                <a:spcPts val="210"/>
              </a:spcAft>
              <a:buFontTx/>
              <a:buNone/>
              <a:defRPr sz="150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1470"/>
              </a:lnSpc>
              <a:spcAft>
                <a:spcPts val="210"/>
              </a:spcAft>
              <a:buFontTx/>
              <a:buNone/>
              <a:defRPr sz="1500" b="0" i="0" cap="all">
                <a:latin typeface="Effra Light"/>
                <a:cs typeface="Effra Light"/>
              </a:defRPr>
            </a:lvl6pPr>
            <a:lvl7pPr marL="0" indent="0">
              <a:lnSpc>
                <a:spcPts val="1470"/>
              </a:lnSpc>
              <a:spcAft>
                <a:spcPts val="210"/>
              </a:spcAft>
              <a:buFontTx/>
              <a:buNone/>
              <a:defRPr sz="150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75212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>
                <a:solidFill>
                  <a:srgbClr val="FFFFFF"/>
                </a:solidFill>
              </a:rPr>
              <a:t>MiniMed 670G system |  Weekly country call |   Confidential, for Internal Use Onl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1000" y="350520"/>
            <a:ext cx="11430000" cy="6477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033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>
                <a:solidFill>
                  <a:srgbClr val="FFFFFF"/>
                </a:solidFill>
              </a:rPr>
              <a:t>MiniMed 670G system |  Weekly country call |   Confidential, for Internal Use Onl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81000" y="350520"/>
            <a:ext cx="11430000" cy="64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1" y="1330854"/>
            <a:ext cx="5713237" cy="4686300"/>
          </a:xfrm>
        </p:spPr>
        <p:txBody>
          <a:bodyPr r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6096000" y="1330854"/>
            <a:ext cx="5715000" cy="4686300"/>
          </a:xfrm>
        </p:spPr>
        <p:txBody>
          <a:bodyPr rIns="18288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8103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>
                <a:solidFill>
                  <a:srgbClr val="FFFFFF"/>
                </a:solidFill>
              </a:rPr>
              <a:t>MiniMed 670G system |  Weekly country call |   Confidential, for Internal Use Onl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50520"/>
            <a:ext cx="11430000" cy="64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66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>
                <a:solidFill>
                  <a:srgbClr val="FFFFFF"/>
                </a:solidFill>
              </a:rPr>
              <a:t>MiniMed 670G system |  Weekly country call |   Confidential, for Internal Use Only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75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>
          <a:xfrm>
            <a:off x="381511" y="6561141"/>
            <a:ext cx="381000" cy="190500"/>
          </a:xfrm>
          <a:prstGeom prst="rect">
            <a:avLst/>
          </a:prstGeom>
        </p:spPr>
        <p:txBody>
          <a:bodyPr lIns="109728" tIns="54864" rIns="109728" bIns="54864"/>
          <a:lstStyle/>
          <a:p>
            <a:pPr defTabSz="914327"/>
            <a:fld id="{A3032E39-2DD7-6341-87B9-9AB98FE36691}" type="slidenum">
              <a:rPr lang="en-US" smtClean="0">
                <a:solidFill>
                  <a:srgbClr val="001E46"/>
                </a:solidFill>
              </a:rPr>
              <a:pPr defTabSz="914327"/>
              <a:t>‹#›</a:t>
            </a:fld>
            <a:endParaRPr lang="en-US" dirty="0">
              <a:solidFill>
                <a:srgbClr val="001E46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79678" y="373379"/>
            <a:ext cx="11430000" cy="2667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79677" y="625898"/>
            <a:ext cx="11428167" cy="266700"/>
          </a:xfrm>
        </p:spPr>
        <p:txBody>
          <a:bodyPr>
            <a:noAutofit/>
          </a:bodyPr>
          <a:lstStyle>
            <a:lvl1pPr marL="0">
              <a:lnSpc>
                <a:spcPts val="2000"/>
              </a:lnSpc>
              <a:spcAft>
                <a:spcPts val="0"/>
              </a:spcAft>
              <a:buFontTx/>
              <a:buNone/>
              <a:defRPr sz="2333" cap="all">
                <a:solidFill>
                  <a:schemeClr val="tx2"/>
                </a:solidFill>
                <a:latin typeface="Effra Light"/>
              </a:defRPr>
            </a:lvl1pPr>
            <a:lvl2pPr marL="0" indent="0">
              <a:lnSpc>
                <a:spcPts val="2000"/>
              </a:lnSpc>
              <a:spcAft>
                <a:spcPts val="0"/>
              </a:spcAft>
              <a:buFontTx/>
              <a:buNone/>
              <a:defRPr sz="2333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ts val="2000"/>
              </a:lnSpc>
              <a:spcAft>
                <a:spcPts val="0"/>
              </a:spcAft>
              <a:buFontTx/>
              <a:buNone/>
              <a:defRPr sz="2333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ts val="2000"/>
              </a:lnSpc>
              <a:spcAft>
                <a:spcPts val="0"/>
              </a:spcAft>
              <a:buFontTx/>
              <a:buNone/>
              <a:defRPr sz="2333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ts val="2000"/>
              </a:lnSpc>
              <a:spcAft>
                <a:spcPts val="0"/>
              </a:spcAft>
              <a:buFontTx/>
              <a:buNone/>
              <a:defRPr sz="2333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333" b="0" i="0" cap="all">
                <a:latin typeface="Effra Light"/>
                <a:cs typeface="Effra Light"/>
              </a:defRPr>
            </a:lvl6pPr>
            <a:lvl7pPr marL="0" indent="0">
              <a:lnSpc>
                <a:spcPts val="2333"/>
              </a:lnSpc>
              <a:spcAft>
                <a:spcPts val="333"/>
              </a:spcAft>
              <a:buFontTx/>
              <a:buNone/>
              <a:defRPr sz="2333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8944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3032E39-2DD7-6341-87B9-9AB98FE366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0"/>
          </p:nvPr>
        </p:nvSpPr>
        <p:spPr>
          <a:xfrm>
            <a:off x="1016000" y="6561141"/>
            <a:ext cx="7366000" cy="1905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Edit title on Slide Master using Insert &gt; Header &amp; Footer   |   March 25, 2016   |   Confidential, for internal use only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4471" y="351554"/>
            <a:ext cx="11176000" cy="3048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04472" y="652618"/>
            <a:ext cx="11176000" cy="304800"/>
          </a:xfrm>
        </p:spPr>
        <p:txBody>
          <a:bodyPr>
            <a:noAutofit/>
          </a:bodyPr>
          <a:lstStyle>
            <a:lvl1pPr mar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750" cap="all">
                <a:solidFill>
                  <a:schemeClr val="tx2"/>
                </a:solidFill>
                <a:latin typeface="Effra Light"/>
              </a:defRPr>
            </a:lvl1pPr>
            <a:lvl2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750" b="0" i="0" cap="all">
                <a:solidFill>
                  <a:schemeClr val="tx2"/>
                </a:solidFill>
                <a:latin typeface="Effra Light"/>
              </a:defRPr>
            </a:lvl2pPr>
            <a:lvl3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750" b="0" i="0" cap="all">
                <a:solidFill>
                  <a:schemeClr val="tx2"/>
                </a:solidFill>
                <a:latin typeface="Effra Light"/>
              </a:defRPr>
            </a:lvl3pPr>
            <a:lvl4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750" b="0" i="0" cap="all">
                <a:solidFill>
                  <a:schemeClr val="tx2"/>
                </a:solidFill>
                <a:latin typeface="Effra Light"/>
              </a:defRPr>
            </a:lvl4pPr>
            <a:lvl5pPr marL="0" indent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750" b="0" i="0" cap="all">
                <a:solidFill>
                  <a:schemeClr val="tx2"/>
                </a:solidFill>
                <a:latin typeface="Effra Light"/>
              </a:defRPr>
            </a:lvl5pPr>
            <a:lvl6pPr marL="0" indent="0">
              <a:lnSpc>
                <a:spcPts val="1750"/>
              </a:lnSpc>
              <a:spcAft>
                <a:spcPts val="250"/>
              </a:spcAft>
              <a:buFontTx/>
              <a:buNone/>
              <a:defRPr sz="1750" b="0" i="0" cap="all">
                <a:latin typeface="Effra Light"/>
                <a:cs typeface="Effra Light"/>
              </a:defRPr>
            </a:lvl6pPr>
            <a:lvl7pPr marL="0" indent="0">
              <a:lnSpc>
                <a:spcPts val="1750"/>
              </a:lnSpc>
              <a:spcAft>
                <a:spcPts val="250"/>
              </a:spcAft>
              <a:buFontTx/>
              <a:buNone/>
              <a:defRPr sz="1750" b="0" i="0" cap="all">
                <a:latin typeface="Effra Light"/>
                <a:cs typeface="Effra Light"/>
              </a:defRPr>
            </a:lvl7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573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9139D7A-F120-402F-818F-280C1708E8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F75E5A26-331D-4660-88C7-D4E72BD402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3F229-21CD-4B27-970B-1135DE79A357}" type="datetimeFigureOut">
              <a:rPr lang="en-GB" smtClean="0"/>
              <a:t>22/07/2020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540E5606-B1C7-492B-A967-98F4FBBCDB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E96821B1-EE4D-4349-B760-7A50C3A2E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DAB1EC-FB01-4E9A-A1E1-6B7E032E61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13462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D18E50C5-CE62-4A4C-9A08-0559A1746B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3F229-21CD-4B27-970B-1135DE79A357}" type="datetimeFigureOut">
              <a:rPr lang="en-GB" smtClean="0"/>
              <a:t>22/07/2020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56116CFC-9626-4FA0-BADF-CBB39993F8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5E77868-A19B-4E34-8752-006B3B2619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DAB1EC-FB01-4E9A-A1E1-6B7E032E61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2277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04C12F2-8035-4F50-8316-AD3924A3AE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1AC2B38-5A81-4EA3-81F7-2619EC7EEA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4C64D56-C96B-41C9-A7EA-4802FAFD03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ED1DF765-3F58-4CE5-A23B-1977AC2811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3F229-21CD-4B27-970B-1135DE79A357}" type="datetimeFigureOut">
              <a:rPr lang="en-GB" smtClean="0"/>
              <a:t>22/07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33F963A-B26C-448E-9641-DA41E27F46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7FD27F85-8F69-4DF0-A339-8873E5D613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DAB1EC-FB01-4E9A-A1E1-6B7E032E61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01570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6B58CBF-138E-448D-9094-BD92984A32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319C4AC2-22CA-4D3E-9046-3E6704AD70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97E42ECA-B036-44AD-B250-477B76474B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22E0806C-BB61-40B6-B351-57E1B04174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83F229-21CD-4B27-970B-1135DE79A357}" type="datetimeFigureOut">
              <a:rPr lang="en-GB" smtClean="0"/>
              <a:t>22/07/2020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B7F7F84E-F85D-40B5-A8C9-DEFC45F478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2E071EDC-5D5E-4FA3-B9EC-ED0D3CEF6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DAB1EC-FB01-4E9A-A1E1-6B7E032E61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212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2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8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7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.v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54.xml"/><Relationship Id="rId7" Type="http://schemas.openxmlformats.org/officeDocument/2006/relationships/theme" Target="../theme/theme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56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55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CA51877D-FDE3-49F5-8459-9E554D292D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B1C2AA1-BF20-4378-9C51-6CC51F0D198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3DCCCC4-D159-4536-9E32-4BA527A1AD8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83F229-21CD-4B27-970B-1135DE79A357}" type="datetimeFigureOut">
              <a:rPr lang="en-GB" smtClean="0"/>
              <a:t>22/07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A46B98F-0822-4C93-AE48-74EAE515F5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150245B6-9056-4746-82A1-2E5C24BFC6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DAB1EC-FB01-4E9A-A1E1-6B7E032E612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5579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B4B3309B-8DB4-47F8-B84B-8D3B3B58C6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B4B3309B-8DB4-47F8-B84B-8D3B3B58C6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4" y="6286502"/>
            <a:ext cx="8000998" cy="571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152" tIns="38073" rIns="76152" bIns="3807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456700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001000" y="6286502"/>
            <a:ext cx="4189238" cy="5715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152" tIns="38073" rIns="76152" bIns="3807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456700"/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" y="6561142"/>
            <a:ext cx="381000" cy="190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ts val="1000"/>
              </a:lnSpc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defTabSz="456700"/>
            <a:fld id="{A3032E39-2DD7-6341-87B9-9AB98FE36691}" type="slidenum">
              <a:rPr lang="en-US" smtClean="0">
                <a:solidFill>
                  <a:srgbClr val="FFFFFF"/>
                </a:solidFill>
              </a:rPr>
              <a:pPr defTabSz="456700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2000" y="6561142"/>
            <a:ext cx="6858000" cy="190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ts val="1000"/>
              </a:lnSpc>
              <a:defRPr sz="800">
                <a:solidFill>
                  <a:schemeClr val="bg1"/>
                </a:solidFill>
                <a:latin typeface="+mn-lt"/>
                <a:cs typeface="Effra"/>
              </a:defRPr>
            </a:lvl1pPr>
          </a:lstStyle>
          <a:p>
            <a:pPr defTabSz="456700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51846"/>
            <a:ext cx="11430000" cy="647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330855"/>
            <a:ext cx="11430000" cy="4686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 descr="med_logo_rgb_rev_REG_OL.emf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760" y="6264347"/>
            <a:ext cx="1550458" cy="707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465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hf hdr="0" ftr="0" dt="0"/>
  <p:txStyles>
    <p:titleStyle>
      <a:lvl1pPr algn="l" defTabSz="456700" rtl="0" eaLnBrk="1" latinLnBrk="0" hangingPunct="1">
        <a:lnSpc>
          <a:spcPct val="85000"/>
        </a:lnSpc>
        <a:spcBef>
          <a:spcPct val="0"/>
        </a:spcBef>
        <a:buNone/>
        <a:defRPr sz="2400" b="1" i="0" kern="1200" cap="all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0357" indent="-190357" algn="l" defTabSz="456700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Wingdings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78070" indent="-190357" algn="l" defTabSz="456700" rtl="0" eaLnBrk="1" latinLnBrk="0" hangingPunct="1">
        <a:lnSpc>
          <a:spcPct val="100000"/>
        </a:lnSpc>
        <a:spcBef>
          <a:spcPts val="0"/>
        </a:spcBef>
        <a:spcAft>
          <a:spcPts val="833"/>
        </a:spcAft>
        <a:buFont typeface="Wingdings" charset="2"/>
        <a:buChar char="§"/>
        <a:defRPr sz="1700" kern="1200">
          <a:solidFill>
            <a:schemeClr val="tx2"/>
          </a:solidFill>
          <a:latin typeface="+mn-lt"/>
          <a:ea typeface="+mn-ea"/>
          <a:cs typeface="+mn-cs"/>
        </a:defRPr>
      </a:lvl2pPr>
      <a:lvl3pPr marL="571063" indent="-190357" algn="l" defTabSz="456700" rtl="0" eaLnBrk="1" latinLnBrk="0" hangingPunct="1">
        <a:lnSpc>
          <a:spcPct val="100000"/>
        </a:lnSpc>
        <a:spcBef>
          <a:spcPts val="0"/>
        </a:spcBef>
        <a:spcAft>
          <a:spcPts val="833"/>
        </a:spcAft>
        <a:buFont typeface="Wingdings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761430" indent="-190357" algn="l" defTabSz="456700" rtl="0" eaLnBrk="1" latinLnBrk="0" hangingPunct="1">
        <a:lnSpc>
          <a:spcPct val="100000"/>
        </a:lnSpc>
        <a:spcBef>
          <a:spcPts val="0"/>
        </a:spcBef>
        <a:spcAft>
          <a:spcPts val="833"/>
        </a:spcAft>
        <a:buFont typeface="Wingdings" charset="2"/>
        <a:buChar char="§"/>
        <a:defRPr sz="15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53102" indent="-189034" algn="l" defTabSz="456700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Effra" panose="02000506080000020004" pitchFamily="2" charset="0"/>
        <a:buChar char="–"/>
        <a:defRPr sz="1300" kern="1200" baseline="0">
          <a:solidFill>
            <a:schemeClr val="accent1"/>
          </a:solidFill>
          <a:latin typeface="Effra"/>
          <a:ea typeface="+mn-ea"/>
          <a:cs typeface="+mn-cs"/>
        </a:defRPr>
      </a:lvl5pPr>
      <a:lvl6pPr marL="1140819" indent="-187712" algn="l" defTabSz="456700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Effra" panose="02000506080000020004" pitchFamily="2" charset="0"/>
        <a:buChar char="–"/>
        <a:defRPr sz="1300" kern="1200">
          <a:solidFill>
            <a:schemeClr val="accent1"/>
          </a:solidFill>
          <a:latin typeface="Effra"/>
          <a:ea typeface="+mn-ea"/>
          <a:cs typeface="+mn-cs"/>
        </a:defRPr>
      </a:lvl6pPr>
      <a:lvl7pPr marL="1329842" indent="-189034" algn="l" defTabSz="456700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Effra" panose="02000506080000020004" pitchFamily="2" charset="0"/>
        <a:buChar char="–"/>
        <a:defRPr sz="1300" kern="1200">
          <a:solidFill>
            <a:schemeClr val="accent1"/>
          </a:solidFill>
          <a:latin typeface="Effra"/>
          <a:ea typeface="+mn-ea"/>
          <a:cs typeface="+mn-cs"/>
        </a:defRPr>
      </a:lvl7pPr>
      <a:lvl8pPr marL="3425254" indent="-228353" algn="l" defTabSz="4567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960" indent="-228353" algn="l" defTabSz="4567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7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00" algn="l" defTabSz="4567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98" algn="l" defTabSz="4567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99" algn="l" defTabSz="4567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804" algn="l" defTabSz="4567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504" algn="l" defTabSz="4567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195" algn="l" defTabSz="4567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901" algn="l" defTabSz="4567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604" algn="l" defTabSz="4567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288">
          <p15:clr>
            <a:srgbClr val="F26B43"/>
          </p15:clr>
        </p15:guide>
        <p15:guide id="2" pos="1728">
          <p15:clr>
            <a:srgbClr val="F26B43"/>
          </p15:clr>
        </p15:guide>
        <p15:guide id="3" pos="7488">
          <p15:clr>
            <a:srgbClr val="F26B43"/>
          </p15:clr>
        </p15:guide>
        <p15:guide id="4" pos="4608">
          <p15:clr>
            <a:srgbClr val="F26B43"/>
          </p15:clr>
        </p15:guide>
        <p15:guide id="5" pos="8928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orient="horz" pos="5060">
          <p15:clr>
            <a:srgbClr val="F26B43"/>
          </p15:clr>
        </p15:guide>
        <p15:guide id="8" orient="horz" pos="4464">
          <p15:clr>
            <a:srgbClr val="F26B43"/>
          </p15:clr>
        </p15:guide>
        <p15:guide id="9" orient="horz" pos="1056">
          <p15:clr>
            <a:srgbClr val="F26B43"/>
          </p15:clr>
        </p15:guide>
        <p15:guide id="10" orient="horz" pos="516">
          <p15:clr>
            <a:srgbClr val="F26B43"/>
          </p15:clr>
        </p15:guide>
        <p15:guide id="11" pos="3168">
          <p15:clr>
            <a:srgbClr val="F26B43"/>
          </p15:clr>
        </p15:guide>
        <p15:guide id="12" pos="604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3" y="6286500"/>
            <a:ext cx="8000999" cy="571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3" dirty="0"/>
          </a:p>
        </p:txBody>
      </p:sp>
      <p:sp>
        <p:nvSpPr>
          <p:cNvPr id="25" name="Rectangle 24"/>
          <p:cNvSpPr/>
          <p:nvPr/>
        </p:nvSpPr>
        <p:spPr>
          <a:xfrm>
            <a:off x="8001000" y="6286500"/>
            <a:ext cx="4189238" cy="571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3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" y="6561141"/>
            <a:ext cx="381000" cy="190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ts val="1000"/>
              </a:lnSpc>
              <a:defRPr sz="833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A3032E39-2DD7-6341-87B9-9AB98FE3669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2000" y="6561141"/>
            <a:ext cx="6858000" cy="1905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lnSpc>
                <a:spcPts val="1000"/>
              </a:lnSpc>
              <a:defRPr sz="833">
                <a:solidFill>
                  <a:schemeClr val="tx1"/>
                </a:solidFill>
                <a:latin typeface="+mn-lt"/>
                <a:cs typeface="Effra"/>
              </a:defRPr>
            </a:lvl1pPr>
          </a:lstStyle>
          <a:p>
            <a:r>
              <a:rPr lang="en-US" dirty="0"/>
              <a:t>Edit Title on Slide Master using Insert &gt; Header &amp; Footer   |   March 25, 2016   |   Confidential, for Internal Use Only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350520"/>
            <a:ext cx="11430000" cy="647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330854"/>
            <a:ext cx="11430000" cy="4686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 descr="med_logo_rgb_rev_REG_OL.emf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760" y="6264346"/>
            <a:ext cx="1550458" cy="7074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25328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3" r:id="rId5"/>
    <p:sldLayoutId id="2147483684" r:id="rId6"/>
    <p:sldLayoutId id="2147483685" r:id="rId7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hf hdr="0"/>
  <p:txStyles>
    <p:titleStyle>
      <a:lvl1pPr algn="l" defTabSz="456993" rtl="0" eaLnBrk="1" latinLnBrk="0" hangingPunct="1">
        <a:lnSpc>
          <a:spcPct val="85000"/>
        </a:lnSpc>
        <a:spcBef>
          <a:spcPct val="0"/>
        </a:spcBef>
        <a:buNone/>
        <a:defRPr sz="2333" b="1" i="0" kern="1200" cap="all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0477" indent="-190477" algn="l" defTabSz="456993" rtl="0" eaLnBrk="1" latinLnBrk="0" hangingPunct="1">
        <a:lnSpc>
          <a:spcPct val="100000"/>
        </a:lnSpc>
        <a:spcBef>
          <a:spcPts val="0"/>
        </a:spcBef>
        <a:spcAft>
          <a:spcPts val="833"/>
        </a:spcAft>
        <a:buFont typeface="Wingdings" charset="2"/>
        <a:buChar char="§"/>
        <a:defRPr sz="1833" kern="1200">
          <a:solidFill>
            <a:schemeClr val="tx1"/>
          </a:solidFill>
          <a:latin typeface="+mn-lt"/>
          <a:ea typeface="+mn-ea"/>
          <a:cs typeface="+mn-cs"/>
        </a:defRPr>
      </a:lvl1pPr>
      <a:lvl2pPr marL="378309" indent="-190477" algn="l" defTabSz="456993" rtl="0" eaLnBrk="1" latinLnBrk="0" hangingPunct="1">
        <a:lnSpc>
          <a:spcPct val="100000"/>
        </a:lnSpc>
        <a:spcBef>
          <a:spcPts val="0"/>
        </a:spcBef>
        <a:spcAft>
          <a:spcPts val="833"/>
        </a:spcAft>
        <a:buFont typeface="Wingdings" charset="2"/>
        <a:buChar char="§"/>
        <a:defRPr sz="1667" kern="1200">
          <a:solidFill>
            <a:schemeClr val="accent3"/>
          </a:solidFill>
          <a:latin typeface="+mn-lt"/>
          <a:ea typeface="+mn-ea"/>
          <a:cs typeface="+mn-cs"/>
        </a:defRPr>
      </a:lvl2pPr>
      <a:lvl3pPr marL="571431" indent="-190477" algn="l" defTabSz="456993" rtl="0" eaLnBrk="1" latinLnBrk="0" hangingPunct="1">
        <a:lnSpc>
          <a:spcPct val="100000"/>
        </a:lnSpc>
        <a:spcBef>
          <a:spcPts val="0"/>
        </a:spcBef>
        <a:spcAft>
          <a:spcPts val="833"/>
        </a:spcAft>
        <a:buFont typeface="Wingdings" charset="2"/>
        <a:buChar char="§"/>
        <a:defRPr sz="1500" kern="1200" baseline="0">
          <a:solidFill>
            <a:schemeClr val="accent3"/>
          </a:solidFill>
          <a:latin typeface="+mn-lt"/>
          <a:ea typeface="+mn-ea"/>
          <a:cs typeface="+mn-cs"/>
        </a:defRPr>
      </a:lvl3pPr>
      <a:lvl4pPr marL="761910" indent="-190477" algn="l" defTabSz="456993" rtl="0" eaLnBrk="1" latinLnBrk="0" hangingPunct="1">
        <a:lnSpc>
          <a:spcPct val="100000"/>
        </a:lnSpc>
        <a:spcBef>
          <a:spcPts val="0"/>
        </a:spcBef>
        <a:spcAft>
          <a:spcPts val="833"/>
        </a:spcAft>
        <a:buFont typeface="Wingdings" charset="2"/>
        <a:buChar char="§"/>
        <a:defRPr sz="1500" kern="1200">
          <a:solidFill>
            <a:schemeClr val="tx2"/>
          </a:solidFill>
          <a:latin typeface="+mn-lt"/>
          <a:ea typeface="+mn-ea"/>
          <a:cs typeface="+mn-cs"/>
        </a:defRPr>
      </a:lvl4pPr>
      <a:lvl5pPr marL="953709" indent="-189154" algn="l" defTabSz="456993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Effra" panose="02000506080000020004" pitchFamily="2" charset="0"/>
        <a:buChar char="–"/>
        <a:defRPr sz="1333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141540" indent="-187832" algn="l" defTabSz="456993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Effra" panose="02000506080000020004" pitchFamily="2" charset="0"/>
        <a:buChar char="–"/>
        <a:defRPr sz="1333" kern="1200" baseline="0">
          <a:solidFill>
            <a:schemeClr val="tx2"/>
          </a:solidFill>
          <a:latin typeface="+mn-lt"/>
          <a:ea typeface="+mn-ea"/>
          <a:cs typeface="+mn-cs"/>
        </a:defRPr>
      </a:lvl6pPr>
      <a:lvl7pPr marL="1330695" indent="-189154" algn="l" defTabSz="456993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Effra" panose="02000506080000020004" pitchFamily="2" charset="0"/>
        <a:buChar char="–"/>
        <a:defRPr sz="1333" kern="1200">
          <a:solidFill>
            <a:schemeClr val="tx2"/>
          </a:solidFill>
          <a:latin typeface="+mn-lt"/>
          <a:ea typeface="+mn-ea"/>
          <a:cs typeface="+mn-cs"/>
        </a:defRPr>
      </a:lvl7pPr>
      <a:lvl8pPr marL="3427446" indent="-228497" algn="l" defTabSz="45699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440" indent="-228497" algn="l" defTabSz="45699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993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1pPr>
      <a:lvl2pPr marL="456993" algn="l" defTabSz="456993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2pPr>
      <a:lvl3pPr marL="913985" algn="l" defTabSz="456993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3pPr>
      <a:lvl4pPr marL="1370978" algn="l" defTabSz="456993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4pPr>
      <a:lvl5pPr marL="1827971" algn="l" defTabSz="456993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5pPr>
      <a:lvl6pPr marL="2284964" algn="l" defTabSz="456993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6pPr>
      <a:lvl7pPr marL="2741956" algn="l" defTabSz="456993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7pPr>
      <a:lvl8pPr marL="3198949" algn="l" defTabSz="456993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8pPr>
      <a:lvl9pPr marL="3655943" algn="l" defTabSz="456993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0" orient="horz" pos="288">
          <p15:clr>
            <a:srgbClr val="F26B43"/>
          </p15:clr>
        </p15:guide>
        <p15:guide id="1" pos="4608">
          <p15:clr>
            <a:srgbClr val="F26B43"/>
          </p15:clr>
        </p15:guide>
        <p15:guide id="2" orient="horz" pos="1056">
          <p15:clr>
            <a:srgbClr val="F26B43"/>
          </p15:clr>
        </p15:guide>
        <p15:guide id="3" orient="horz" pos="5061">
          <p15:clr>
            <a:srgbClr val="F26B43"/>
          </p15:clr>
        </p15:guide>
        <p15:guide id="4" orient="horz" pos="4464">
          <p15:clr>
            <a:srgbClr val="F26B43"/>
          </p15:clr>
        </p15:guide>
        <p15:guide id="5" pos="7488">
          <p15:clr>
            <a:srgbClr val="F26B43"/>
          </p15:clr>
        </p15:guide>
        <p15:guide id="6" pos="1728">
          <p15:clr>
            <a:srgbClr val="F26B43"/>
          </p15:clr>
        </p15:guide>
        <p15:guide id="7" pos="288">
          <p15:clr>
            <a:srgbClr val="F26B43"/>
          </p15:clr>
        </p15:guide>
        <p15:guide id="8" pos="8928">
          <p15:clr>
            <a:srgbClr val="F26B43"/>
          </p15:clr>
        </p15:guide>
        <p15:guide id="9" pos="6048">
          <p15:clr>
            <a:srgbClr val="F26B43"/>
          </p15:clr>
        </p15:guide>
        <p15:guide id="10" pos="316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62002" y="-199769"/>
            <a:ext cx="3426354" cy="87525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330854"/>
            <a:ext cx="4572000" cy="4572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190879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</p:sldLayoutIdLst>
  <p:hf hdr="0"/>
  <p:txStyles>
    <p:titleStyle>
      <a:lvl1pPr algn="l" defTabSz="457029" rtl="0" eaLnBrk="1" latinLnBrk="0" hangingPunct="1">
        <a:lnSpc>
          <a:spcPct val="66000"/>
        </a:lnSpc>
        <a:spcBef>
          <a:spcPct val="0"/>
        </a:spcBef>
        <a:buNone/>
        <a:defRPr sz="667" b="1" i="0" kern="1200" cap="all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029" rtl="0" eaLnBrk="1" latinLnBrk="0" hangingPunct="1">
        <a:lnSpc>
          <a:spcPct val="70000"/>
        </a:lnSpc>
        <a:spcBef>
          <a:spcPts val="0"/>
        </a:spcBef>
        <a:spcAft>
          <a:spcPts val="0"/>
        </a:spcAft>
        <a:buFontTx/>
        <a:buNone/>
        <a:defRPr sz="4333" b="1" i="0" kern="1200" cap="all" baseline="0">
          <a:solidFill>
            <a:schemeClr val="tx1"/>
          </a:solidFill>
          <a:latin typeface="+mj-lt"/>
          <a:ea typeface="+mn-ea"/>
          <a:cs typeface="+mn-cs"/>
        </a:defRPr>
      </a:lvl1pPr>
      <a:lvl2pPr marL="0" indent="0" algn="l" defTabSz="457029" rtl="0" eaLnBrk="1" latinLnBrk="0" hangingPunct="1">
        <a:lnSpc>
          <a:spcPct val="70000"/>
        </a:lnSpc>
        <a:spcBef>
          <a:spcPts val="0"/>
        </a:spcBef>
        <a:spcAft>
          <a:spcPts val="0"/>
        </a:spcAft>
        <a:buFontTx/>
        <a:buNone/>
        <a:defRPr sz="4333" b="0" i="0" kern="1200" cap="all">
          <a:solidFill>
            <a:schemeClr val="tx1"/>
          </a:solidFill>
          <a:latin typeface="Effra Light"/>
          <a:ea typeface="+mn-ea"/>
          <a:cs typeface="Effra"/>
        </a:defRPr>
      </a:lvl2pPr>
      <a:lvl3pPr marL="0" indent="0" algn="l" defTabSz="457029" rtl="0" eaLnBrk="1" latinLnBrk="0" hangingPunct="1">
        <a:lnSpc>
          <a:spcPct val="70000"/>
        </a:lnSpc>
        <a:spcBef>
          <a:spcPts val="0"/>
        </a:spcBef>
        <a:spcAft>
          <a:spcPts val="0"/>
        </a:spcAft>
        <a:buFontTx/>
        <a:buNone/>
        <a:defRPr sz="4333" b="1" i="0" kern="1200" cap="all" baseline="0">
          <a:solidFill>
            <a:schemeClr val="tx2"/>
          </a:solidFill>
          <a:latin typeface="+mj-lt"/>
          <a:ea typeface="+mn-ea"/>
          <a:cs typeface="Effra"/>
        </a:defRPr>
      </a:lvl3pPr>
      <a:lvl4pPr marL="0" indent="0" algn="l" defTabSz="457029" rtl="0" eaLnBrk="1" latinLnBrk="0" hangingPunct="1">
        <a:lnSpc>
          <a:spcPct val="70000"/>
        </a:lnSpc>
        <a:spcBef>
          <a:spcPts val="0"/>
        </a:spcBef>
        <a:spcAft>
          <a:spcPts val="0"/>
        </a:spcAft>
        <a:buFontTx/>
        <a:buNone/>
        <a:defRPr sz="4333" b="0" i="0" kern="1200" cap="all">
          <a:solidFill>
            <a:schemeClr val="tx2"/>
          </a:solidFill>
          <a:latin typeface="Effra Light"/>
          <a:ea typeface="+mn-ea"/>
          <a:cs typeface="Effra Light"/>
        </a:defRPr>
      </a:lvl4pPr>
      <a:lvl5pPr marL="0" indent="0" algn="l" defTabSz="457029" rtl="0" eaLnBrk="1" latinLnBrk="0" hangingPunct="1">
        <a:lnSpc>
          <a:spcPct val="70000"/>
        </a:lnSpc>
        <a:spcBef>
          <a:spcPts val="0"/>
        </a:spcBef>
        <a:spcAft>
          <a:spcPts val="0"/>
        </a:spcAft>
        <a:buFontTx/>
        <a:buNone/>
        <a:tabLst>
          <a:tab pos="1523939" algn="l"/>
        </a:tabLst>
        <a:defRPr sz="4333" b="0" i="0" kern="1200" cap="all" baseline="0">
          <a:solidFill>
            <a:schemeClr val="accent2"/>
          </a:solidFill>
          <a:latin typeface="+mj-lt"/>
          <a:ea typeface="+mn-ea"/>
          <a:cs typeface="Effra"/>
        </a:defRPr>
      </a:lvl5pPr>
      <a:lvl6pPr marL="0" indent="0" algn="l" defTabSz="457029" rtl="0" eaLnBrk="1" latinLnBrk="0" hangingPunct="1">
        <a:lnSpc>
          <a:spcPts val="1500"/>
        </a:lnSpc>
        <a:spcBef>
          <a:spcPts val="0"/>
        </a:spcBef>
        <a:spcAft>
          <a:spcPts val="0"/>
        </a:spcAft>
        <a:buFontTx/>
        <a:buNone/>
        <a:defRPr sz="1500" b="0" i="0" kern="1200" cap="all">
          <a:solidFill>
            <a:schemeClr val="tx2"/>
          </a:solidFill>
          <a:latin typeface="Effra"/>
          <a:ea typeface="+mn-ea"/>
          <a:cs typeface="Effra"/>
        </a:defRPr>
      </a:lvl6pPr>
      <a:lvl7pPr marL="0" indent="0" algn="l" defTabSz="457029" rtl="0" eaLnBrk="1" latinLnBrk="0" hangingPunct="1">
        <a:lnSpc>
          <a:spcPts val="1500"/>
        </a:lnSpc>
        <a:spcBef>
          <a:spcPts val="0"/>
        </a:spcBef>
        <a:spcAft>
          <a:spcPts val="0"/>
        </a:spcAft>
        <a:buFontTx/>
        <a:buNone/>
        <a:defRPr sz="1500" b="0" i="0" kern="1200" cap="all">
          <a:solidFill>
            <a:schemeClr val="tx2"/>
          </a:solidFill>
          <a:latin typeface="Effra"/>
          <a:ea typeface="+mn-ea"/>
          <a:cs typeface="Effra"/>
        </a:defRPr>
      </a:lvl7pPr>
      <a:lvl8pPr marL="3427720" indent="-228515" algn="l" defTabSz="45702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750" indent="-228515" algn="l" defTabSz="45702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1pPr>
      <a:lvl2pPr marL="457029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2pPr>
      <a:lvl3pPr marL="914058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3pPr>
      <a:lvl4pPr marL="1371088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4pPr>
      <a:lvl5pPr marL="1828117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5pPr>
      <a:lvl6pPr marL="2285147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6pPr>
      <a:lvl7pPr marL="2742176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7pPr>
      <a:lvl8pPr marL="3199205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8pPr>
      <a:lvl9pPr marL="3656235" algn="l" defTabSz="457029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1" pos="288">
          <p15:clr>
            <a:srgbClr val="F26B43"/>
          </p15:clr>
        </p15:guide>
        <p15:guide id="2" pos="8928">
          <p15:clr>
            <a:srgbClr val="F26B43"/>
          </p15:clr>
        </p15:guide>
        <p15:guide id="3" orient="horz" pos="288">
          <p15:clr>
            <a:srgbClr val="F26B43"/>
          </p15:clr>
        </p15:guide>
        <p15:guide id="4" orient="horz" pos="489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>
          <a:xfrm>
            <a:off x="2" y="6286500"/>
            <a:ext cx="8000999" cy="571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3"/>
          </a:p>
        </p:txBody>
      </p:sp>
      <p:sp>
        <p:nvSpPr>
          <p:cNvPr id="25" name="Rectangle 24"/>
          <p:cNvSpPr/>
          <p:nvPr/>
        </p:nvSpPr>
        <p:spPr>
          <a:xfrm>
            <a:off x="8001000" y="6286500"/>
            <a:ext cx="4189238" cy="5715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33"/>
          </a:p>
        </p:txBody>
      </p:sp>
      <p:pic>
        <p:nvPicPr>
          <p:cNvPr id="9" name="Picture 8" descr="med_logo_rgb_rev_REG_OL.emf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760" y="6264346"/>
            <a:ext cx="1550458" cy="707424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" y="6561141"/>
            <a:ext cx="381000" cy="190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ts val="1000"/>
              </a:lnSpc>
              <a:defRPr sz="833">
                <a:solidFill>
                  <a:schemeClr val="bg1"/>
                </a:solidFill>
                <a:latin typeface="+mn-lt"/>
              </a:defRPr>
            </a:lvl1pPr>
          </a:lstStyle>
          <a:p>
            <a:fld id="{4326F50D-BE1F-44D9-9A54-3814BD96D4B3}" type="slidenum">
              <a:rPr lang="en-US" smtClean="0"/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2000" y="6561141"/>
            <a:ext cx="6858000" cy="1905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lnSpc>
                <a:spcPts val="1000"/>
              </a:lnSpc>
              <a:defRPr sz="833">
                <a:solidFill>
                  <a:schemeClr val="bg1"/>
                </a:solidFill>
                <a:latin typeface="+mn-lt"/>
                <a:cs typeface="Effra"/>
              </a:defRPr>
            </a:lvl1pPr>
          </a:lstStyle>
          <a:p>
            <a:r>
              <a:rPr lang="en-GB"/>
              <a:t>CARELINK HYPERCARE 2019  |   October 24, 2019   |   Confidential, for internal use only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0999" y="350520"/>
            <a:ext cx="11430000" cy="647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330854"/>
            <a:ext cx="11430000" cy="4686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1505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</p:sldLayoutIdLst>
  <p:hf sldNum="0" hdr="0" dt="0"/>
  <p:txStyles>
    <p:titleStyle>
      <a:lvl1pPr algn="l" defTabSz="457011" rtl="0" eaLnBrk="1" latinLnBrk="0" hangingPunct="1">
        <a:lnSpc>
          <a:spcPct val="85000"/>
        </a:lnSpc>
        <a:spcBef>
          <a:spcPct val="0"/>
        </a:spcBef>
        <a:buNone/>
        <a:defRPr sz="2333" b="1" i="0" kern="1200" cap="all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0484" indent="-190484" algn="l" defTabSz="457011" rtl="0" eaLnBrk="1" latinLnBrk="0" hangingPunct="1">
        <a:lnSpc>
          <a:spcPct val="100000"/>
        </a:lnSpc>
        <a:spcBef>
          <a:spcPts val="0"/>
        </a:spcBef>
        <a:spcAft>
          <a:spcPts val="833"/>
        </a:spcAft>
        <a:buFont typeface="Wingdings" charset="2"/>
        <a:buChar char="§"/>
        <a:defRPr sz="1833" kern="1200">
          <a:solidFill>
            <a:schemeClr val="tx1"/>
          </a:solidFill>
          <a:latin typeface="+mn-lt"/>
          <a:ea typeface="+mn-ea"/>
          <a:cs typeface="+mn-cs"/>
        </a:defRPr>
      </a:lvl1pPr>
      <a:lvl2pPr marL="378324" indent="-190484" algn="l" defTabSz="457011" rtl="0" eaLnBrk="1" latinLnBrk="0" hangingPunct="1">
        <a:lnSpc>
          <a:spcPct val="100000"/>
        </a:lnSpc>
        <a:spcBef>
          <a:spcPts val="0"/>
        </a:spcBef>
        <a:spcAft>
          <a:spcPts val="833"/>
        </a:spcAft>
        <a:buFont typeface="Wingdings" charset="2"/>
        <a:buChar char="§"/>
        <a:defRPr sz="1667" kern="1200">
          <a:solidFill>
            <a:schemeClr val="tx2"/>
          </a:solidFill>
          <a:latin typeface="+mn-lt"/>
          <a:ea typeface="+mn-ea"/>
          <a:cs typeface="+mn-cs"/>
        </a:defRPr>
      </a:lvl2pPr>
      <a:lvl3pPr marL="571454" indent="-190484" algn="l" defTabSz="457011" rtl="0" eaLnBrk="1" latinLnBrk="0" hangingPunct="1">
        <a:lnSpc>
          <a:spcPct val="100000"/>
        </a:lnSpc>
        <a:spcBef>
          <a:spcPts val="0"/>
        </a:spcBef>
        <a:spcAft>
          <a:spcPts val="833"/>
        </a:spcAft>
        <a:buFont typeface="Wingdings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761940" indent="-190484" algn="l" defTabSz="457011" rtl="0" eaLnBrk="1" latinLnBrk="0" hangingPunct="1">
        <a:lnSpc>
          <a:spcPct val="100000"/>
        </a:lnSpc>
        <a:spcBef>
          <a:spcPts val="0"/>
        </a:spcBef>
        <a:spcAft>
          <a:spcPts val="833"/>
        </a:spcAft>
        <a:buFont typeface="Wingdings" charset="2"/>
        <a:buChar char="§"/>
        <a:defRPr sz="15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53747" indent="-189162" algn="l" defTabSz="457011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Effra" panose="02000506080000020004" pitchFamily="2" charset="0"/>
        <a:buChar char="–"/>
        <a:defRPr sz="1333" kern="1200" baseline="0">
          <a:solidFill>
            <a:schemeClr val="accent1"/>
          </a:solidFill>
          <a:latin typeface="+mn-lt"/>
          <a:ea typeface="+mn-ea"/>
          <a:cs typeface="+mn-cs"/>
        </a:defRPr>
      </a:lvl5pPr>
      <a:lvl6pPr marL="1141586" indent="-187839" algn="l" defTabSz="457011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Effra" panose="02000506080000020004" pitchFamily="2" charset="0"/>
        <a:buChar char="–"/>
        <a:defRPr sz="1333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330748" indent="-189162" algn="l" defTabSz="457011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Effra" panose="02000506080000020004" pitchFamily="2" charset="0"/>
        <a:buChar char="–"/>
        <a:defRPr sz="1333" kern="1200">
          <a:solidFill>
            <a:schemeClr val="accent1"/>
          </a:solidFill>
          <a:latin typeface="+mn-lt"/>
          <a:ea typeface="+mn-ea"/>
          <a:cs typeface="+mn-cs"/>
        </a:defRPr>
      </a:lvl7pPr>
      <a:lvl8pPr marL="3427583" indent="-228506" algn="l" defTabSz="45701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95" indent="-228506" algn="l" defTabSz="45701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1pPr>
      <a:lvl2pPr marL="457011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2pPr>
      <a:lvl3pPr marL="914022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3pPr>
      <a:lvl4pPr marL="1371033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4pPr>
      <a:lvl5pPr marL="1828044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5pPr>
      <a:lvl6pPr marL="2285055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6pPr>
      <a:lvl7pPr marL="2742066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7pPr>
      <a:lvl8pPr marL="3199077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8pPr>
      <a:lvl9pPr marL="3656089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0" orient="horz" pos="288">
          <p15:clr>
            <a:srgbClr val="F26B43"/>
          </p15:clr>
        </p15:guide>
        <p15:guide id="1" pos="4608">
          <p15:clr>
            <a:srgbClr val="F26B43"/>
          </p15:clr>
        </p15:guide>
        <p15:guide id="2" orient="horz" pos="1056">
          <p15:clr>
            <a:srgbClr val="F26B43"/>
          </p15:clr>
        </p15:guide>
        <p15:guide id="3" orient="horz" pos="5061">
          <p15:clr>
            <a:srgbClr val="F26B43"/>
          </p15:clr>
        </p15:guide>
        <p15:guide id="4" orient="horz" pos="4464">
          <p15:clr>
            <a:srgbClr val="F26B43"/>
          </p15:clr>
        </p15:guide>
        <p15:guide id="5" pos="7488">
          <p15:clr>
            <a:srgbClr val="F26B43"/>
          </p15:clr>
        </p15:guide>
        <p15:guide id="6" pos="1728">
          <p15:clr>
            <a:srgbClr val="F26B43"/>
          </p15:clr>
        </p15:guide>
        <p15:guide id="7" pos="288">
          <p15:clr>
            <a:srgbClr val="F26B43"/>
          </p15:clr>
        </p15:guide>
        <p15:guide id="8" pos="8928">
          <p15:clr>
            <a:srgbClr val="F26B43"/>
          </p15:clr>
        </p15:guide>
        <p15:guide id="9" pos="3168">
          <p15:clr>
            <a:srgbClr val="F26B43"/>
          </p15:clr>
        </p15:guide>
        <p15:guide id="10" pos="604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324" y="1323"/>
          <a:ext cx="1323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324" y="1323"/>
                        <a:ext cx="1323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B5D60778-BD13-4CC0-8E8E-B1932D23605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2333" b="1" i="0" baseline="0" dirty="0">
              <a:latin typeface="Effra" panose="020B0603020203020204" pitchFamily="34" charset="0"/>
              <a:ea typeface="+mj-ea"/>
              <a:cs typeface="+mj-cs"/>
              <a:sym typeface="Effra" panose="020B0603020203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" y="6286500"/>
            <a:ext cx="8000999" cy="571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8001000" y="6286500"/>
            <a:ext cx="4189238" cy="5715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6200" tIns="38100" rIns="76200" bIns="381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500" dirty="0">
              <a:solidFill>
                <a:srgbClr val="FFFFFF"/>
              </a:solidFill>
            </a:endParaRPr>
          </a:p>
        </p:txBody>
      </p:sp>
      <p:pic>
        <p:nvPicPr>
          <p:cNvPr id="9" name="Picture 8" descr="med_logo_rgb_rev_REG_OL.emf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50760" y="6264346"/>
            <a:ext cx="1550458" cy="707424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" y="6561141"/>
            <a:ext cx="381000" cy="190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lnSpc>
                <a:spcPts val="1000"/>
              </a:lnSpc>
              <a:defRPr sz="833">
                <a:solidFill>
                  <a:schemeClr val="bg1"/>
                </a:solidFill>
                <a:latin typeface="+mn-lt"/>
              </a:defRPr>
            </a:lvl1pPr>
          </a:lstStyle>
          <a:p>
            <a:fld id="{A3032E39-2DD7-6341-87B9-9AB98FE36691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62000" y="6561141"/>
            <a:ext cx="6858000" cy="190500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lnSpc>
                <a:spcPts val="1000"/>
              </a:lnSpc>
              <a:defRPr sz="833">
                <a:solidFill>
                  <a:schemeClr val="bg1"/>
                </a:solidFill>
                <a:latin typeface="+mn-lt"/>
                <a:cs typeface="Effra"/>
              </a:defRPr>
            </a:lvl1pPr>
          </a:lstStyle>
          <a:p>
            <a:r>
              <a:rPr lang="en-GB">
                <a:solidFill>
                  <a:srgbClr val="FFFFFF"/>
                </a:solidFill>
              </a:rPr>
              <a:t>MiniMed 670G system |  Weekly country call |   Confidential, for Internal Use Only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0999" y="350520"/>
            <a:ext cx="11430000" cy="647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1000" y="1330854"/>
            <a:ext cx="11430000" cy="46863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2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3" r:id="rId6"/>
  </p:sldLayoutIdLst>
  <mc:AlternateContent xmlns:mc="http://schemas.openxmlformats.org/markup-compatibility/2006" xmlns:p14="http://schemas.microsoft.com/office/powerpoint/2010/main">
    <mc:Choice Requires="p14">
      <p:transition spd="slow" p14:dur="1600">
        <p14:prism isContent="1" isInverted="1"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457011" rtl="0" eaLnBrk="1" latinLnBrk="0" hangingPunct="1">
        <a:lnSpc>
          <a:spcPct val="85000"/>
        </a:lnSpc>
        <a:spcBef>
          <a:spcPct val="0"/>
        </a:spcBef>
        <a:buNone/>
        <a:defRPr sz="2333" b="1" i="0" kern="1200" cap="all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0484" indent="-190484" algn="l" defTabSz="457011" rtl="0" eaLnBrk="1" latinLnBrk="0" hangingPunct="1">
        <a:lnSpc>
          <a:spcPct val="100000"/>
        </a:lnSpc>
        <a:spcBef>
          <a:spcPts val="0"/>
        </a:spcBef>
        <a:spcAft>
          <a:spcPts val="833"/>
        </a:spcAft>
        <a:buFont typeface="Wingdings" charset="2"/>
        <a:buChar char="§"/>
        <a:defRPr sz="1833" kern="1200">
          <a:solidFill>
            <a:schemeClr val="tx1"/>
          </a:solidFill>
          <a:latin typeface="+mn-lt"/>
          <a:ea typeface="+mn-ea"/>
          <a:cs typeface="+mn-cs"/>
        </a:defRPr>
      </a:lvl1pPr>
      <a:lvl2pPr marL="378324" indent="-190484" algn="l" defTabSz="457011" rtl="0" eaLnBrk="1" latinLnBrk="0" hangingPunct="1">
        <a:lnSpc>
          <a:spcPct val="100000"/>
        </a:lnSpc>
        <a:spcBef>
          <a:spcPts val="0"/>
        </a:spcBef>
        <a:spcAft>
          <a:spcPts val="833"/>
        </a:spcAft>
        <a:buFont typeface="Wingdings" charset="2"/>
        <a:buChar char="§"/>
        <a:defRPr sz="1667" kern="1200">
          <a:solidFill>
            <a:schemeClr val="tx2"/>
          </a:solidFill>
          <a:latin typeface="+mn-lt"/>
          <a:ea typeface="+mn-ea"/>
          <a:cs typeface="+mn-cs"/>
        </a:defRPr>
      </a:lvl2pPr>
      <a:lvl3pPr marL="571454" indent="-190484" algn="l" defTabSz="457011" rtl="0" eaLnBrk="1" latinLnBrk="0" hangingPunct="1">
        <a:lnSpc>
          <a:spcPct val="100000"/>
        </a:lnSpc>
        <a:spcBef>
          <a:spcPts val="0"/>
        </a:spcBef>
        <a:spcAft>
          <a:spcPts val="833"/>
        </a:spcAft>
        <a:buFont typeface="Wingdings" charset="2"/>
        <a:buChar char="§"/>
        <a:defRPr sz="15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761940" indent="-190484" algn="l" defTabSz="457011" rtl="0" eaLnBrk="1" latinLnBrk="0" hangingPunct="1">
        <a:lnSpc>
          <a:spcPct val="100000"/>
        </a:lnSpc>
        <a:spcBef>
          <a:spcPts val="0"/>
        </a:spcBef>
        <a:spcAft>
          <a:spcPts val="833"/>
        </a:spcAft>
        <a:buFont typeface="Wingdings" charset="2"/>
        <a:buChar char="§"/>
        <a:defRPr sz="15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953747" indent="-189162" algn="l" defTabSz="457011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Effra" panose="02000506080000020004" pitchFamily="2" charset="0"/>
        <a:buChar char="–"/>
        <a:defRPr sz="1333" kern="1200" baseline="0">
          <a:solidFill>
            <a:schemeClr val="accent1"/>
          </a:solidFill>
          <a:latin typeface="+mn-lt"/>
          <a:ea typeface="+mn-ea"/>
          <a:cs typeface="+mn-cs"/>
        </a:defRPr>
      </a:lvl5pPr>
      <a:lvl6pPr marL="1141586" indent="-187839" algn="l" defTabSz="457011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Effra" panose="02000506080000020004" pitchFamily="2" charset="0"/>
        <a:buChar char="–"/>
        <a:defRPr sz="1333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330748" indent="-189162" algn="l" defTabSz="457011" rtl="0" eaLnBrk="1" latinLnBrk="0" hangingPunct="1">
        <a:lnSpc>
          <a:spcPct val="100000"/>
        </a:lnSpc>
        <a:spcBef>
          <a:spcPts val="0"/>
        </a:spcBef>
        <a:spcAft>
          <a:spcPts val="667"/>
        </a:spcAft>
        <a:buFont typeface="Effra" panose="02000506080000020004" pitchFamily="2" charset="0"/>
        <a:buChar char="–"/>
        <a:defRPr sz="1333" kern="1200">
          <a:solidFill>
            <a:schemeClr val="accent1"/>
          </a:solidFill>
          <a:latin typeface="+mn-lt"/>
          <a:ea typeface="+mn-ea"/>
          <a:cs typeface="+mn-cs"/>
        </a:defRPr>
      </a:lvl7pPr>
      <a:lvl8pPr marL="3427583" indent="-228506" algn="l" defTabSz="45701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95" indent="-228506" algn="l" defTabSz="45701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1pPr>
      <a:lvl2pPr marL="457011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2pPr>
      <a:lvl3pPr marL="914022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3pPr>
      <a:lvl4pPr marL="1371033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4pPr>
      <a:lvl5pPr marL="1828044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5pPr>
      <a:lvl6pPr marL="2285055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6pPr>
      <a:lvl7pPr marL="2742066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7pPr>
      <a:lvl8pPr marL="3199077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8pPr>
      <a:lvl9pPr marL="3656089" algn="l" defTabSz="457011" rtl="0" eaLnBrk="1" latinLnBrk="0" hangingPunct="1">
        <a:defRPr sz="18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 xmlns="">
        <p15:guide id="0" orient="horz" pos="288">
          <p15:clr>
            <a:srgbClr val="F26B43"/>
          </p15:clr>
        </p15:guide>
        <p15:guide id="1" pos="4608">
          <p15:clr>
            <a:srgbClr val="F26B43"/>
          </p15:clr>
        </p15:guide>
        <p15:guide id="2" orient="horz" pos="1056">
          <p15:clr>
            <a:srgbClr val="F26B43"/>
          </p15:clr>
        </p15:guide>
        <p15:guide id="3" orient="horz" pos="5061">
          <p15:clr>
            <a:srgbClr val="F26B43"/>
          </p15:clr>
        </p15:guide>
        <p15:guide id="4" orient="horz" pos="4464">
          <p15:clr>
            <a:srgbClr val="F26B43"/>
          </p15:clr>
        </p15:guide>
        <p15:guide id="5" pos="7488">
          <p15:clr>
            <a:srgbClr val="F26B43"/>
          </p15:clr>
        </p15:guide>
        <p15:guide id="6" pos="1728">
          <p15:clr>
            <a:srgbClr val="F26B43"/>
          </p15:clr>
        </p15:guide>
        <p15:guide id="7" pos="288">
          <p15:clr>
            <a:srgbClr val="F26B43"/>
          </p15:clr>
        </p15:guide>
        <p15:guide id="8" pos="8928">
          <p15:clr>
            <a:srgbClr val="F26B43"/>
          </p15:clr>
        </p15:guide>
        <p15:guide id="9" pos="3168">
          <p15:clr>
            <a:srgbClr val="F26B43"/>
          </p15:clr>
        </p15:guide>
        <p15:guide id="10" pos="604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9.jpeg"/><Relationship Id="rId4" Type="http://schemas.openxmlformats.org/officeDocument/2006/relationships/image" Target="cid:16d92d0d236619251311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4.xml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Picture Placeholder 1">
            <a:extLst>
              <a:ext uri="{FF2B5EF4-FFF2-40B4-BE49-F238E27FC236}">
                <a16:creationId xmlns:a16="http://schemas.microsoft.com/office/drawing/2014/main" xmlns="" id="{5A08A7C0-D90E-432F-A0D3-4BF893081B89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/>
          <a:srcRect l="10338" r="10338"/>
          <a:stretch>
            <a:fillRect/>
          </a:stretch>
        </p:blipFill>
        <p:spPr>
          <a:xfrm>
            <a:off x="8763000" y="0"/>
            <a:ext cx="3429000" cy="3429000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t-EE" dirty="0" smtClean="0"/>
              <a:t>SIDE HOOLDUS-PARTNERIG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32392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8EA8D42F-4F40-415B-B04A-272327494CC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029">
              <a:defRPr/>
            </a:pPr>
            <a:r>
              <a:rPr lang="en-GB" dirty="0">
                <a:solidFill>
                  <a:srgbClr val="FFFFFF"/>
                </a:solidFill>
              </a:rPr>
              <a:t>CARELINK HYPERCARE 2019  |   </a:t>
            </a:r>
            <a:r>
              <a:rPr lang="et-EE" dirty="0">
                <a:solidFill>
                  <a:srgbClr val="FFFFFF"/>
                </a:solidFill>
              </a:rPr>
              <a:t>24. </a:t>
            </a:r>
            <a:r>
              <a:rPr lang="et-EE" dirty="0" err="1">
                <a:solidFill>
                  <a:srgbClr val="FFFFFF"/>
                </a:solidFill>
              </a:rPr>
              <a:t>ok</a:t>
            </a:r>
            <a:r>
              <a:rPr lang="en-GB" dirty="0">
                <a:solidFill>
                  <a:srgbClr val="FFFFFF"/>
                </a:solidFill>
              </a:rPr>
              <a:t>to</a:t>
            </a:r>
            <a:r>
              <a:rPr lang="et-EE" dirty="0">
                <a:solidFill>
                  <a:srgbClr val="FFFFFF"/>
                </a:solidFill>
              </a:rPr>
              <a:t>o</a:t>
            </a:r>
            <a:r>
              <a:rPr lang="en-GB" dirty="0" err="1">
                <a:solidFill>
                  <a:srgbClr val="FFFFFF"/>
                </a:solidFill>
              </a:rPr>
              <a:t>ber</a:t>
            </a:r>
            <a:r>
              <a:rPr lang="en-GB" dirty="0">
                <a:solidFill>
                  <a:srgbClr val="FFFFFF"/>
                </a:solidFill>
              </a:rPr>
              <a:t> 2019   |   </a:t>
            </a:r>
            <a:r>
              <a:rPr lang="et-EE" dirty="0">
                <a:solidFill>
                  <a:srgbClr val="FFFFFF"/>
                </a:solidFill>
              </a:rPr>
              <a:t>Konfidentsiaalne, ainult </a:t>
            </a:r>
            <a:r>
              <a:rPr lang="et-EE" dirty="0" err="1">
                <a:solidFill>
                  <a:srgbClr val="FFFFFF"/>
                </a:solidFill>
              </a:rPr>
              <a:t>sisekasutusek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4682D202-BA1C-4302-862C-422339740B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/>
              <a:t>SMS-teavituste aktiveerimine</a:t>
            </a:r>
            <a:endParaRPr lang="en-GB" dirty="0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xmlns="" id="{677C74CE-2681-40E0-A9A6-9D0879296CE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69714" y="740561"/>
            <a:ext cx="4771482" cy="537687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61DCC1D-6797-40A5-8DBE-8CC45B5ADA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43256" y="43133"/>
            <a:ext cx="4148744" cy="297820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8DCA07D1-A633-47AD-8B75-EE844F04A5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08766" y="2997667"/>
            <a:ext cx="6613520" cy="289863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67830BF-2286-445C-8EEB-7C4A6F0B5821}"/>
              </a:ext>
            </a:extLst>
          </p:cNvPr>
          <p:cNvSpPr txBox="1"/>
          <p:nvPr/>
        </p:nvSpPr>
        <p:spPr>
          <a:xfrm>
            <a:off x="5152482" y="961696"/>
            <a:ext cx="3209636" cy="117763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ctr" defTabSz="457029">
              <a:defRPr/>
            </a:pPr>
            <a:r>
              <a:rPr lang="et-EE" sz="2667" dirty="0" smtClean="0">
                <a:solidFill>
                  <a:srgbClr val="001E46"/>
                </a:solidFill>
                <a:latin typeface="Effra"/>
                <a:cs typeface="Effra"/>
              </a:rPr>
              <a:t>Hoolduspartner </a:t>
            </a:r>
            <a:r>
              <a:rPr lang="et-EE" sz="2667" dirty="0">
                <a:solidFill>
                  <a:srgbClr val="001E46"/>
                </a:solidFill>
                <a:latin typeface="Effra"/>
                <a:cs typeface="Effra"/>
              </a:rPr>
              <a:t>logib sisse, et nõusolekut kinnitada</a:t>
            </a:r>
            <a:endParaRPr lang="en-GB" sz="2667" dirty="0">
              <a:solidFill>
                <a:srgbClr val="001E46"/>
              </a:solidFill>
              <a:latin typeface="Effra"/>
              <a:cs typeface="Effra"/>
            </a:endParaRPr>
          </a:p>
        </p:txBody>
      </p:sp>
    </p:spTree>
    <p:extLst>
      <p:ext uri="{BB962C8B-B14F-4D97-AF65-F5344CB8AC3E}">
        <p14:creationId xmlns:p14="http://schemas.microsoft.com/office/powerpoint/2010/main" val="28574564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29847FA-A85E-40BC-883A-0D1DD46E34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CareLink</a:t>
            </a:r>
            <a:r>
              <a:rPr lang="en-US" dirty="0"/>
              <a:t> personal 14.0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527A19F-3D52-4BD2-B995-2B05E93570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2770" y="1140289"/>
            <a:ext cx="10329398" cy="2342250"/>
          </a:xfrm>
        </p:spPr>
        <p:txBody>
          <a:bodyPr/>
          <a:lstStyle/>
          <a:p>
            <a:r>
              <a:rPr lang="et-EE" sz="1800" b="1" dirty="0"/>
              <a:t>Lihtsam </a:t>
            </a:r>
            <a:r>
              <a:rPr lang="et-EE" sz="1800" b="1" dirty="0" smtClean="0"/>
              <a:t>hoolduspartneri </a:t>
            </a:r>
            <a:r>
              <a:rPr lang="et-EE" sz="1800" b="1" dirty="0"/>
              <a:t>registreerimine</a:t>
            </a:r>
            <a:endParaRPr lang="en-US" sz="1800" b="1" dirty="0"/>
          </a:p>
          <a:p>
            <a:pPr lvl="1"/>
            <a:r>
              <a:rPr lang="et-EE" sz="1600" dirty="0"/>
              <a:t>Varem sai </a:t>
            </a:r>
            <a:r>
              <a:rPr lang="et-EE" sz="1600" dirty="0" smtClean="0"/>
              <a:t>hoolduspartner </a:t>
            </a:r>
            <a:r>
              <a:rPr lang="et-EE" sz="1600" dirty="0"/>
              <a:t>end registreerida ainult </a:t>
            </a:r>
            <a:r>
              <a:rPr lang="en-US" sz="1600" dirty="0"/>
              <a:t>Guardian Connect </a:t>
            </a:r>
            <a:r>
              <a:rPr lang="et-EE" sz="1600" dirty="0"/>
              <a:t>mobiilirakenduse kadu</a:t>
            </a:r>
            <a:r>
              <a:rPr lang="en-US" sz="1600" dirty="0"/>
              <a:t>.</a:t>
            </a:r>
          </a:p>
          <a:p>
            <a:pPr lvl="1"/>
            <a:r>
              <a:rPr lang="et-EE" sz="1600" dirty="0"/>
              <a:t>Varem pidi </a:t>
            </a:r>
            <a:r>
              <a:rPr lang="et-EE" sz="1600" dirty="0" smtClean="0"/>
              <a:t>hoolduspartner </a:t>
            </a:r>
            <a:r>
              <a:rPr lang="et-EE" sz="1600" dirty="0"/>
              <a:t>ootama, et patsient andmete jagamise taotluse algataks.</a:t>
            </a:r>
            <a:r>
              <a:rPr lang="en-US" sz="1600" dirty="0"/>
              <a:t> </a:t>
            </a:r>
          </a:p>
          <a:p>
            <a:pPr lvl="1"/>
            <a:r>
              <a:rPr lang="et-EE" sz="1600" dirty="0"/>
              <a:t>Nüüd saab </a:t>
            </a:r>
            <a:r>
              <a:rPr lang="et-EE" sz="1600" dirty="0" smtClean="0"/>
              <a:t>hoolduspartner </a:t>
            </a:r>
            <a:r>
              <a:rPr lang="et-EE" sz="1600" dirty="0"/>
              <a:t>andmete jagamist patsiendi käest proaktiivselt küsida.</a:t>
            </a:r>
            <a:endParaRPr lang="en-US" sz="1600" dirty="0"/>
          </a:p>
          <a:p>
            <a:pPr lvl="1"/>
            <a:r>
              <a:rPr lang="et-EE" sz="1600" dirty="0"/>
              <a:t>Nüüd saab </a:t>
            </a:r>
            <a:r>
              <a:rPr lang="et-EE" sz="1600" dirty="0" smtClean="0"/>
              <a:t>hoolduspartner </a:t>
            </a:r>
            <a:r>
              <a:rPr lang="et-EE" sz="1600" dirty="0"/>
              <a:t>luua endale </a:t>
            </a:r>
            <a:r>
              <a:rPr lang="en-US" sz="1600" dirty="0" err="1"/>
              <a:t>CareLink</a:t>
            </a:r>
            <a:r>
              <a:rPr lang="en-US" sz="1600" dirty="0"/>
              <a:t> Personal </a:t>
            </a:r>
            <a:r>
              <a:rPr lang="et-EE" sz="1600" dirty="0"/>
              <a:t>konto ja saata patsiendile ligipääsutaotluse, kui ta </a:t>
            </a:r>
            <a:r>
              <a:rPr lang="et-EE" sz="1600" u="sng" dirty="0"/>
              <a:t>teab patsiendi kasutajanime</a:t>
            </a:r>
            <a:r>
              <a:rPr lang="en-US" sz="1600" dirty="0"/>
              <a:t>.</a:t>
            </a:r>
          </a:p>
          <a:p>
            <a:pPr lvl="1"/>
            <a:endParaRPr lang="en-US" sz="2000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xmlns="" id="{D6C3BCC9-BB06-4615-A66F-9DDC7CA875E8}"/>
              </a:ext>
            </a:extLst>
          </p:cNvPr>
          <p:cNvSpPr txBox="1">
            <a:spLocks/>
          </p:cNvSpPr>
          <p:nvPr/>
        </p:nvSpPr>
        <p:spPr>
          <a:xfrm>
            <a:off x="402770" y="707039"/>
            <a:ext cx="11430000" cy="4332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029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333" b="1" i="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457011">
              <a:defRPr/>
            </a:pPr>
            <a:r>
              <a:rPr lang="et-EE" sz="1800" dirty="0">
                <a:solidFill>
                  <a:srgbClr val="001E46"/>
                </a:solidFill>
                <a:latin typeface="Effra"/>
              </a:rPr>
              <a:t>UUED FUNKTSIOONID </a:t>
            </a:r>
            <a:r>
              <a:rPr lang="et-EE" sz="1800" dirty="0" smtClean="0">
                <a:solidFill>
                  <a:srgbClr val="001E46"/>
                </a:solidFill>
                <a:latin typeface="Effra"/>
              </a:rPr>
              <a:t>HOOLDUSPARTNERILE</a:t>
            </a:r>
            <a:endParaRPr lang="en-US" sz="1800" dirty="0">
              <a:solidFill>
                <a:srgbClr val="001E46"/>
              </a:solidFill>
              <a:latin typeface="Effra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DB56530B-9129-49A5-AF2B-FB573D82571B}"/>
              </a:ext>
            </a:extLst>
          </p:cNvPr>
          <p:cNvSpPr txBox="1">
            <a:spLocks/>
          </p:cNvSpPr>
          <p:nvPr/>
        </p:nvSpPr>
        <p:spPr>
          <a:xfrm>
            <a:off x="402770" y="3237392"/>
            <a:ext cx="11430000" cy="4332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029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333" b="1" i="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457011">
              <a:defRPr/>
            </a:pPr>
            <a:r>
              <a:rPr lang="et-EE" sz="1800" dirty="0">
                <a:solidFill>
                  <a:srgbClr val="001E46"/>
                </a:solidFill>
                <a:latin typeface="Effra"/>
              </a:rPr>
              <a:t>UUS NUTISEADME </a:t>
            </a:r>
            <a:r>
              <a:rPr lang="et-EE" sz="1800" dirty="0">
                <a:solidFill>
                  <a:srgbClr val="001E46"/>
                </a:solidFill>
              </a:rPr>
              <a:t>BRAUSERI AVALEHT</a:t>
            </a:r>
            <a:endParaRPr lang="en-US" sz="1800" dirty="0">
              <a:solidFill>
                <a:srgbClr val="001E46"/>
              </a:solidFill>
              <a:latin typeface="Effra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1415CAE4-B7C7-4DD3-8CE9-8FBA5DC0140B}"/>
              </a:ext>
            </a:extLst>
          </p:cNvPr>
          <p:cNvSpPr txBox="1">
            <a:spLocks/>
          </p:cNvSpPr>
          <p:nvPr/>
        </p:nvSpPr>
        <p:spPr>
          <a:xfrm>
            <a:off x="632744" y="3601107"/>
            <a:ext cx="2687576" cy="19615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0492" indent="-190492" algn="l" defTabSz="4570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33"/>
              </a:spcAft>
              <a:buFont typeface="Wingdings" charset="2"/>
              <a:buChar char="§"/>
              <a:defRPr sz="18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339" indent="-190492" algn="l" defTabSz="4570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33"/>
              </a:spcAft>
              <a:buFont typeface="Wingdings" charset="2"/>
              <a:buChar char="§"/>
              <a:defRPr sz="1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1477" indent="-190492" algn="l" defTabSz="4570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33"/>
              </a:spcAft>
              <a:buFont typeface="Wingdings" charset="2"/>
              <a:buChar char="§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61970" indent="-190492" algn="l" defTabSz="4570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33"/>
              </a:spcAft>
              <a:buFont typeface="Wingdings" charset="2"/>
              <a:buChar char="§"/>
              <a:defRPr sz="15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53785" indent="-189170" algn="l" defTabSz="4570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Effra" panose="02000506080000020004" pitchFamily="2" charset="0"/>
              <a:buChar char="–"/>
              <a:defRPr sz="1333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141632" indent="-187847" algn="l" defTabSz="4570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Effra" panose="02000506080000020004" pitchFamily="2" charset="0"/>
              <a:buChar char="–"/>
              <a:defRPr sz="1333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330801" indent="-189170" algn="l" defTabSz="4570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Effra" panose="02000506080000020004" pitchFamily="2" charset="0"/>
              <a:buChar char="–"/>
              <a:defRPr sz="1333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84" indent="-190484" defTabSz="457011">
              <a:defRPr/>
            </a:pPr>
            <a:r>
              <a:rPr lang="et-EE" sz="1600" b="1" dirty="0">
                <a:solidFill>
                  <a:srgbClr val="001E46"/>
                </a:solidFill>
                <a:latin typeface="Effra"/>
              </a:rPr>
              <a:t>Varem</a:t>
            </a:r>
            <a:r>
              <a:rPr lang="en-US" sz="1600" b="1" dirty="0">
                <a:solidFill>
                  <a:srgbClr val="001E46"/>
                </a:solidFill>
                <a:latin typeface="Effra"/>
              </a:rPr>
              <a:t>:</a:t>
            </a:r>
          </a:p>
          <a:p>
            <a:pPr marL="378324" lvl="1" indent="-190484" defTabSz="457011">
              <a:defRPr/>
            </a:pPr>
            <a:r>
              <a:rPr lang="et-EE" sz="1600" b="1" dirty="0">
                <a:solidFill>
                  <a:srgbClr val="004B87"/>
                </a:solidFill>
              </a:rPr>
              <a:t>Veebilehe </a:t>
            </a:r>
            <a:r>
              <a:rPr lang="en-US" sz="1600" b="1" dirty="0" err="1" smtClean="0">
                <a:solidFill>
                  <a:srgbClr val="004B87"/>
                </a:solidFill>
              </a:rPr>
              <a:t>carelink.minimed</a:t>
            </a:r>
            <a:r>
              <a:rPr lang="et-EE" sz="1600" b="1" dirty="0" smtClean="0">
                <a:solidFill>
                  <a:srgbClr val="004B87"/>
                </a:solidFill>
              </a:rPr>
              <a:t>.</a:t>
            </a:r>
            <a:r>
              <a:rPr lang="et-EE" sz="1600" b="1" dirty="0" err="1" smtClean="0">
                <a:solidFill>
                  <a:srgbClr val="004B87"/>
                </a:solidFill>
              </a:rPr>
              <a:t>eu</a:t>
            </a:r>
            <a:r>
              <a:rPr lang="en-US" sz="1600" b="1" dirty="0" smtClean="0">
                <a:solidFill>
                  <a:srgbClr val="004B87"/>
                </a:solidFill>
              </a:rPr>
              <a:t> </a:t>
            </a:r>
            <a:r>
              <a:rPr lang="et-EE" sz="1600" b="1" dirty="0">
                <a:solidFill>
                  <a:srgbClr val="004B87"/>
                </a:solidFill>
              </a:rPr>
              <a:t>avamisel suunati Teid </a:t>
            </a:r>
            <a:r>
              <a:rPr lang="en-US" sz="1600" b="1" dirty="0" err="1">
                <a:solidFill>
                  <a:srgbClr val="004B87"/>
                </a:solidFill>
              </a:rPr>
              <a:t>CareLink</a:t>
            </a:r>
            <a:r>
              <a:rPr lang="en-US" sz="1600" b="1" dirty="0">
                <a:solidFill>
                  <a:srgbClr val="004B87"/>
                </a:solidFill>
              </a:rPr>
              <a:t>™ Connect </a:t>
            </a:r>
            <a:r>
              <a:rPr lang="et-EE" sz="1600" b="1" dirty="0">
                <a:solidFill>
                  <a:srgbClr val="004B87"/>
                </a:solidFill>
              </a:rPr>
              <a:t>avalehele</a:t>
            </a:r>
            <a:r>
              <a:rPr lang="et-EE" sz="1600" b="1" dirty="0">
                <a:solidFill>
                  <a:srgbClr val="004B87"/>
                </a:solidFill>
                <a:latin typeface="Effra"/>
              </a:rPr>
              <a:t>.</a:t>
            </a:r>
            <a:endParaRPr lang="en-US" sz="1600" dirty="0">
              <a:solidFill>
                <a:srgbClr val="004B87"/>
              </a:solidFill>
              <a:latin typeface="Effra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31C065EE-5A55-4744-80C4-4A56D807E577}"/>
              </a:ext>
            </a:extLst>
          </p:cNvPr>
          <p:cNvSpPr txBox="1">
            <a:spLocks/>
          </p:cNvSpPr>
          <p:nvPr/>
        </p:nvSpPr>
        <p:spPr>
          <a:xfrm>
            <a:off x="8350354" y="3598188"/>
            <a:ext cx="2945130" cy="196158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90492" indent="-190492" algn="l" defTabSz="4570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33"/>
              </a:spcAft>
              <a:buFont typeface="Wingdings" charset="2"/>
              <a:buChar char="§"/>
              <a:defRPr sz="18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339" indent="-190492" algn="l" defTabSz="4570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33"/>
              </a:spcAft>
              <a:buFont typeface="Wingdings" charset="2"/>
              <a:buChar char="§"/>
              <a:defRPr sz="1667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71477" indent="-190492" algn="l" defTabSz="4570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33"/>
              </a:spcAft>
              <a:buFont typeface="Wingdings" charset="2"/>
              <a:buChar char="§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61970" indent="-190492" algn="l" defTabSz="4570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33"/>
              </a:spcAft>
              <a:buFont typeface="Wingdings" charset="2"/>
              <a:buChar char="§"/>
              <a:defRPr sz="15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953785" indent="-189170" algn="l" defTabSz="4570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Effra" panose="02000506080000020004" pitchFamily="2" charset="0"/>
              <a:buChar char="–"/>
              <a:defRPr sz="1333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141632" indent="-187847" algn="l" defTabSz="4570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Effra" panose="02000506080000020004" pitchFamily="2" charset="0"/>
              <a:buChar char="–"/>
              <a:defRPr sz="1333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330801" indent="-189170" algn="l" defTabSz="45702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67"/>
              </a:spcAft>
              <a:buFont typeface="Effra" panose="02000506080000020004" pitchFamily="2" charset="0"/>
              <a:buChar char="–"/>
              <a:defRPr sz="1333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342772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4750" indent="-228515" algn="l" defTabSz="457029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84" indent="-190484" defTabSz="457011">
              <a:defRPr/>
            </a:pPr>
            <a:r>
              <a:rPr lang="et-EE" sz="1600" b="1" dirty="0">
                <a:solidFill>
                  <a:srgbClr val="001E46"/>
                </a:solidFill>
                <a:latin typeface="Effra"/>
              </a:rPr>
              <a:t>Nüüd</a:t>
            </a:r>
            <a:r>
              <a:rPr lang="en-US" sz="1600" b="1" dirty="0">
                <a:solidFill>
                  <a:srgbClr val="001E46"/>
                </a:solidFill>
                <a:latin typeface="Effra"/>
              </a:rPr>
              <a:t>:</a:t>
            </a:r>
          </a:p>
          <a:p>
            <a:pPr marL="378324" lvl="1" indent="-190484" defTabSz="457011">
              <a:defRPr/>
            </a:pPr>
            <a:r>
              <a:rPr lang="et-EE" sz="1600" b="1" dirty="0">
                <a:solidFill>
                  <a:srgbClr val="004B87"/>
                </a:solidFill>
                <a:latin typeface="Effra"/>
              </a:rPr>
              <a:t>Veebilehe</a:t>
            </a:r>
            <a:r>
              <a:rPr lang="en-US" sz="1600" b="1" dirty="0">
                <a:solidFill>
                  <a:srgbClr val="004B87"/>
                </a:solidFill>
                <a:latin typeface="Effra"/>
              </a:rPr>
              <a:t> </a:t>
            </a:r>
            <a:r>
              <a:rPr lang="en-US" sz="1600" b="1" dirty="0" err="1" smtClean="0">
                <a:solidFill>
                  <a:srgbClr val="004B87"/>
                </a:solidFill>
                <a:latin typeface="Effra"/>
              </a:rPr>
              <a:t>carelink.minimed</a:t>
            </a:r>
            <a:r>
              <a:rPr lang="en-US" sz="1600" b="1" dirty="0" smtClean="0">
                <a:solidFill>
                  <a:srgbClr val="004B87"/>
                </a:solidFill>
                <a:latin typeface="Effra"/>
              </a:rPr>
              <a:t>.</a:t>
            </a:r>
            <a:r>
              <a:rPr lang="et-EE" sz="1600" b="1" dirty="0" err="1" smtClean="0">
                <a:solidFill>
                  <a:srgbClr val="004B87"/>
                </a:solidFill>
                <a:latin typeface="Effra"/>
              </a:rPr>
              <a:t>eu</a:t>
            </a:r>
            <a:r>
              <a:rPr lang="et-EE" sz="1600" b="1" dirty="0" smtClean="0">
                <a:solidFill>
                  <a:srgbClr val="004B87"/>
                </a:solidFill>
                <a:latin typeface="Effra"/>
              </a:rPr>
              <a:t> avamisel </a:t>
            </a:r>
            <a:r>
              <a:rPr lang="et-EE" sz="1600" b="1" dirty="0">
                <a:solidFill>
                  <a:srgbClr val="004B87"/>
                </a:solidFill>
                <a:latin typeface="Effra"/>
              </a:rPr>
              <a:t>suunatakse Teid mobiilirakendusse. Pärast sisselogimist näeb hooldaja </a:t>
            </a:r>
            <a:r>
              <a:rPr lang="en-US" sz="1600" b="1" dirty="0" err="1">
                <a:solidFill>
                  <a:srgbClr val="004B87"/>
                </a:solidFill>
                <a:latin typeface="Effra"/>
              </a:rPr>
              <a:t>CareLink</a:t>
            </a:r>
            <a:r>
              <a:rPr lang="en-US" sz="1600" b="1" dirty="0">
                <a:solidFill>
                  <a:srgbClr val="004B87"/>
                </a:solidFill>
                <a:latin typeface="Effra"/>
              </a:rPr>
              <a:t>™ Connect </a:t>
            </a:r>
            <a:r>
              <a:rPr lang="et-EE" sz="1600" b="1" dirty="0">
                <a:solidFill>
                  <a:srgbClr val="004B87"/>
                </a:solidFill>
                <a:latin typeface="Effra"/>
              </a:rPr>
              <a:t>lehte</a:t>
            </a:r>
            <a:r>
              <a:rPr lang="en-US" sz="1600" b="1" dirty="0">
                <a:solidFill>
                  <a:srgbClr val="004B87"/>
                </a:solidFill>
                <a:latin typeface="Effra"/>
              </a:rPr>
              <a:t>.</a:t>
            </a:r>
            <a:endParaRPr lang="en-US" sz="1400" dirty="0">
              <a:solidFill>
                <a:srgbClr val="004B87"/>
              </a:solidFill>
              <a:latin typeface="Effra"/>
            </a:endParaRPr>
          </a:p>
          <a:p>
            <a:pPr marL="378324" lvl="1" indent="-190484" defTabSz="457011">
              <a:defRPr/>
            </a:pPr>
            <a:endParaRPr lang="en-US" sz="1600" dirty="0">
              <a:solidFill>
                <a:srgbClr val="004B87"/>
              </a:solidFill>
              <a:latin typeface="Effra"/>
            </a:endParaRPr>
          </a:p>
        </p:txBody>
      </p:sp>
      <p:pic>
        <p:nvPicPr>
          <p:cNvPr id="10" name="Picture 1" descr="cid:16d92d0d236619251311">
            <a:extLst>
              <a:ext uri="{FF2B5EF4-FFF2-40B4-BE49-F238E27FC236}">
                <a16:creationId xmlns:a16="http://schemas.microsoft.com/office/drawing/2014/main" xmlns="" id="{D3614F70-E3F6-4330-9BE3-4700E859435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r:link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749" b="16820"/>
          <a:stretch>
            <a:fillRect/>
          </a:stretch>
        </p:blipFill>
        <p:spPr bwMode="auto">
          <a:xfrm>
            <a:off x="6536528" y="3800955"/>
            <a:ext cx="1542749" cy="2353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" descr="16d92d0e774c5d865322">
            <a:extLst>
              <a:ext uri="{FF2B5EF4-FFF2-40B4-BE49-F238E27FC236}">
                <a16:creationId xmlns:a16="http://schemas.microsoft.com/office/drawing/2014/main" xmlns="" id="{A818F933-4D08-4086-9E72-9A975F776E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13" b="26895"/>
          <a:stretch/>
        </p:blipFill>
        <p:spPr bwMode="auto">
          <a:xfrm>
            <a:off x="3352402" y="3816998"/>
            <a:ext cx="1539577" cy="2343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xmlns="" id="{1FFFB85F-745A-4E04-9D4D-532733F0F8CC}"/>
              </a:ext>
            </a:extLst>
          </p:cNvPr>
          <p:cNvCxnSpPr>
            <a:cxnSpLocks/>
          </p:cNvCxnSpPr>
          <p:nvPr/>
        </p:nvCxnSpPr>
        <p:spPr>
          <a:xfrm>
            <a:off x="4652387" y="6892020"/>
            <a:ext cx="2813538" cy="0"/>
          </a:xfrm>
          <a:prstGeom prst="straightConnector1">
            <a:avLst/>
          </a:prstGeom>
          <a:ln w="57150" cap="sq">
            <a:solidFill>
              <a:schemeClr val="accent4">
                <a:lumMod val="60000"/>
                <a:lumOff val="40000"/>
              </a:schemeClr>
            </a:solidFill>
            <a:round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xmlns="" id="{C1A4A31C-E6F6-477F-9887-36353F07A3BB}"/>
              </a:ext>
            </a:extLst>
          </p:cNvPr>
          <p:cNvCxnSpPr>
            <a:cxnSpLocks/>
          </p:cNvCxnSpPr>
          <p:nvPr/>
        </p:nvCxnSpPr>
        <p:spPr>
          <a:xfrm>
            <a:off x="5214493" y="5003843"/>
            <a:ext cx="993802" cy="0"/>
          </a:xfrm>
          <a:prstGeom prst="straightConnector1">
            <a:avLst/>
          </a:prstGeom>
          <a:ln w="57150" cap="sq">
            <a:solidFill>
              <a:srgbClr val="FFC000"/>
            </a:solidFill>
            <a:round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514563ED-A5C3-49D5-910D-57AEE21AD25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029">
              <a:defRPr/>
            </a:pPr>
            <a:r>
              <a:rPr lang="en-GB" dirty="0">
                <a:solidFill>
                  <a:srgbClr val="FFFFFF"/>
                </a:solidFill>
              </a:rPr>
              <a:t>CARELINK HYPERCARE 2019  |   </a:t>
            </a:r>
            <a:r>
              <a:rPr lang="et-EE" dirty="0">
                <a:solidFill>
                  <a:srgbClr val="FFFFFF"/>
                </a:solidFill>
              </a:rPr>
              <a:t>24. </a:t>
            </a:r>
            <a:r>
              <a:rPr lang="et-EE" dirty="0" err="1">
                <a:solidFill>
                  <a:srgbClr val="FFFFFF"/>
                </a:solidFill>
              </a:rPr>
              <a:t>ok</a:t>
            </a:r>
            <a:r>
              <a:rPr lang="en-GB" dirty="0">
                <a:solidFill>
                  <a:srgbClr val="FFFFFF"/>
                </a:solidFill>
              </a:rPr>
              <a:t>to</a:t>
            </a:r>
            <a:r>
              <a:rPr lang="et-EE" dirty="0">
                <a:solidFill>
                  <a:srgbClr val="FFFFFF"/>
                </a:solidFill>
              </a:rPr>
              <a:t>o</a:t>
            </a:r>
            <a:r>
              <a:rPr lang="en-GB" dirty="0" err="1">
                <a:solidFill>
                  <a:srgbClr val="FFFFFF"/>
                </a:solidFill>
              </a:rPr>
              <a:t>ber</a:t>
            </a:r>
            <a:r>
              <a:rPr lang="en-GB" dirty="0">
                <a:solidFill>
                  <a:srgbClr val="FFFFFF"/>
                </a:solidFill>
              </a:rPr>
              <a:t> 2019   |   </a:t>
            </a:r>
            <a:r>
              <a:rPr lang="et-EE" dirty="0">
                <a:solidFill>
                  <a:srgbClr val="FFFFFF"/>
                </a:solidFill>
              </a:rPr>
              <a:t>Konfidentsiaalne, ainult </a:t>
            </a:r>
            <a:r>
              <a:rPr lang="et-EE" dirty="0" err="1">
                <a:solidFill>
                  <a:srgbClr val="FFFFFF"/>
                </a:solidFill>
              </a:rPr>
              <a:t>sisekasutuseks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5409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632E941-B874-4C1E-A3CC-079DAD628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129" y="414571"/>
            <a:ext cx="11430000" cy="304800"/>
          </a:xfrm>
        </p:spPr>
        <p:txBody>
          <a:bodyPr/>
          <a:lstStyle/>
          <a:p>
            <a:r>
              <a:rPr lang="en-US" sz="2000" dirty="0" err="1"/>
              <a:t>CareLink</a:t>
            </a:r>
            <a:r>
              <a:rPr lang="en-US" sz="2000" dirty="0"/>
              <a:t> Personal 14.0 – </a:t>
            </a:r>
            <a:r>
              <a:rPr lang="et-EE" sz="2000" dirty="0" smtClean="0"/>
              <a:t>HOOLDUSPARTNERI </a:t>
            </a:r>
            <a:r>
              <a:rPr lang="et-EE" sz="2000" dirty="0"/>
              <a:t>REGISTREERuMINE JA LIGIPÄÄS</a:t>
            </a:r>
            <a:endParaRPr lang="en-US" sz="20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D6E8AF6-F7D4-41E1-BD15-61B91A50A122}"/>
              </a:ext>
            </a:extLst>
          </p:cNvPr>
          <p:cNvSpPr/>
          <p:nvPr/>
        </p:nvSpPr>
        <p:spPr>
          <a:xfrm>
            <a:off x="2213806" y="799294"/>
            <a:ext cx="9144000" cy="11321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 anchorCtr="0"/>
          <a:lstStyle/>
          <a:p>
            <a:pPr defTabSz="685773">
              <a:defRPr/>
            </a:pPr>
            <a:r>
              <a:rPr lang="et-EE" sz="1350" dirty="0">
                <a:solidFill>
                  <a:srgbClr val="000000"/>
                </a:solidFill>
                <a:latin typeface="Effra"/>
              </a:rPr>
              <a:t>VANA MEETOD </a:t>
            </a:r>
            <a:r>
              <a:rPr lang="en-US" sz="1350" dirty="0">
                <a:solidFill>
                  <a:srgbClr val="000000"/>
                </a:solidFill>
                <a:latin typeface="Effra"/>
              </a:rPr>
              <a:t>- </a:t>
            </a:r>
            <a:r>
              <a:rPr lang="et-EE" sz="1350" dirty="0">
                <a:solidFill>
                  <a:srgbClr val="000000"/>
                </a:solidFill>
                <a:latin typeface="Effra"/>
              </a:rPr>
              <a:t>tüütu</a:t>
            </a:r>
            <a:endParaRPr lang="en-US" sz="1350" dirty="0">
              <a:solidFill>
                <a:srgbClr val="000000"/>
              </a:solidFill>
              <a:latin typeface="Effra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A3134806-4522-4BFD-A6A1-CB0B042023C1}"/>
              </a:ext>
            </a:extLst>
          </p:cNvPr>
          <p:cNvSpPr/>
          <p:nvPr/>
        </p:nvSpPr>
        <p:spPr>
          <a:xfrm>
            <a:off x="2224080" y="2077662"/>
            <a:ext cx="9144000" cy="3981044"/>
          </a:xfrm>
          <a:prstGeom prst="rect">
            <a:avLst/>
          </a:prstGeom>
          <a:solidFill>
            <a:schemeClr val="bg1">
              <a:lumMod val="10000"/>
              <a:lumOff val="90000"/>
            </a:schemeClr>
          </a:solidFill>
          <a:ln>
            <a:noFill/>
          </a:ln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 anchorCtr="0"/>
          <a:lstStyle/>
          <a:p>
            <a:pPr defTabSz="685773">
              <a:defRPr/>
            </a:pPr>
            <a:r>
              <a:rPr lang="et-EE" sz="1350" dirty="0">
                <a:solidFill>
                  <a:srgbClr val="001E46"/>
                </a:solidFill>
                <a:latin typeface="Effra"/>
              </a:rPr>
              <a:t>UUS MEETOD</a:t>
            </a:r>
            <a:r>
              <a:rPr lang="en-US" sz="1350" dirty="0">
                <a:solidFill>
                  <a:srgbClr val="001E46"/>
                </a:solidFill>
                <a:latin typeface="Effra"/>
              </a:rPr>
              <a:t> - </a:t>
            </a:r>
            <a:r>
              <a:rPr lang="et-EE" sz="1350" dirty="0">
                <a:solidFill>
                  <a:srgbClr val="001E46"/>
                </a:solidFill>
                <a:latin typeface="Effra"/>
              </a:rPr>
              <a:t>sujuv</a:t>
            </a:r>
            <a:endParaRPr lang="en-US" sz="1350" dirty="0">
              <a:solidFill>
                <a:srgbClr val="001E46"/>
              </a:solidFill>
              <a:latin typeface="Effra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xmlns="" id="{ED695304-7AE8-4C50-984F-86A05D4D02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7242388"/>
              </p:ext>
            </p:extLst>
          </p:nvPr>
        </p:nvGraphicFramePr>
        <p:xfrm>
          <a:off x="2323232" y="1132245"/>
          <a:ext cx="8923959" cy="9699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1551">
                  <a:extLst>
                    <a:ext uri="{9D8B030D-6E8A-4147-A177-3AD203B41FA5}">
                      <a16:colId xmlns:a16="http://schemas.microsoft.com/office/drawing/2014/main" xmlns="" val="368242530"/>
                    </a:ext>
                  </a:extLst>
                </a:gridCol>
                <a:gridCol w="991551">
                  <a:extLst>
                    <a:ext uri="{9D8B030D-6E8A-4147-A177-3AD203B41FA5}">
                      <a16:colId xmlns:a16="http://schemas.microsoft.com/office/drawing/2014/main" xmlns="" val="3026948023"/>
                    </a:ext>
                  </a:extLst>
                </a:gridCol>
                <a:gridCol w="991551">
                  <a:extLst>
                    <a:ext uri="{9D8B030D-6E8A-4147-A177-3AD203B41FA5}">
                      <a16:colId xmlns:a16="http://schemas.microsoft.com/office/drawing/2014/main" xmlns="" val="3505718370"/>
                    </a:ext>
                  </a:extLst>
                </a:gridCol>
                <a:gridCol w="991551">
                  <a:extLst>
                    <a:ext uri="{9D8B030D-6E8A-4147-A177-3AD203B41FA5}">
                      <a16:colId xmlns:a16="http://schemas.microsoft.com/office/drawing/2014/main" xmlns="" val="871917028"/>
                    </a:ext>
                  </a:extLst>
                </a:gridCol>
                <a:gridCol w="991551">
                  <a:extLst>
                    <a:ext uri="{9D8B030D-6E8A-4147-A177-3AD203B41FA5}">
                      <a16:colId xmlns:a16="http://schemas.microsoft.com/office/drawing/2014/main" xmlns="" val="3971780560"/>
                    </a:ext>
                  </a:extLst>
                </a:gridCol>
                <a:gridCol w="991551">
                  <a:extLst>
                    <a:ext uri="{9D8B030D-6E8A-4147-A177-3AD203B41FA5}">
                      <a16:colId xmlns:a16="http://schemas.microsoft.com/office/drawing/2014/main" xmlns="" val="2384146183"/>
                    </a:ext>
                  </a:extLst>
                </a:gridCol>
                <a:gridCol w="991551">
                  <a:extLst>
                    <a:ext uri="{9D8B030D-6E8A-4147-A177-3AD203B41FA5}">
                      <a16:colId xmlns:a16="http://schemas.microsoft.com/office/drawing/2014/main" xmlns="" val="1923643562"/>
                    </a:ext>
                  </a:extLst>
                </a:gridCol>
                <a:gridCol w="991551">
                  <a:extLst>
                    <a:ext uri="{9D8B030D-6E8A-4147-A177-3AD203B41FA5}">
                      <a16:colId xmlns:a16="http://schemas.microsoft.com/office/drawing/2014/main" xmlns="" val="2263751203"/>
                    </a:ext>
                  </a:extLst>
                </a:gridCol>
                <a:gridCol w="991551">
                  <a:extLst>
                    <a:ext uri="{9D8B030D-6E8A-4147-A177-3AD203B41FA5}">
                      <a16:colId xmlns:a16="http://schemas.microsoft.com/office/drawing/2014/main" xmlns="" val="3244985605"/>
                    </a:ext>
                  </a:extLst>
                </a:gridCol>
              </a:tblGrid>
              <a:tr h="705808">
                <a:tc>
                  <a:txBody>
                    <a:bodyPr/>
                    <a:lstStyle/>
                    <a:p>
                      <a:pPr algn="ctr"/>
                      <a:r>
                        <a:rPr lang="en-US" sz="900" b="1" u="sng" dirty="0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  <a:p>
                      <a:pPr algn="ctr"/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Patsient loob </a:t>
                      </a:r>
                      <a:r>
                        <a:rPr lang="en-US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CL</a:t>
                      </a:r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-lehel</a:t>
                      </a:r>
                      <a:r>
                        <a:rPr lang="en-US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konto</a:t>
                      </a:r>
                      <a:r>
                        <a:rPr lang="en-US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kui tal seda pole</a:t>
                      </a:r>
                      <a:endParaRPr lang="en-US" sz="900" b="1" u="sng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00408" marR="100408" marT="73504" marB="7350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u="sng" dirty="0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  <a:p>
                      <a:pPr marL="0" marR="0" lvl="0" indent="0" algn="ctr" defTabSz="3839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Patsient loob hooldajale ID</a:t>
                      </a:r>
                      <a:r>
                        <a:rPr lang="en-US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ja ajutise parooli</a:t>
                      </a:r>
                      <a:endParaRPr lang="en-US" sz="900" b="1" u="sng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00408" marR="100408" marT="73504" marB="7350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u="sng" dirty="0">
                          <a:solidFill>
                            <a:srgbClr val="000000"/>
                          </a:solidFill>
                          <a:latin typeface="+mn-lt"/>
                        </a:rPr>
                        <a:t>3</a:t>
                      </a:r>
                    </a:p>
                    <a:p>
                      <a:pPr marL="0" marR="0" lvl="0" indent="0" algn="ctr" defTabSz="3839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Patsient teatab hooldajale ID ja ajutise parooli</a:t>
                      </a:r>
                      <a:endParaRPr lang="en-US" sz="900" b="1" u="sng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00408" marR="100408" marT="73504" marB="7350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u="sng" dirty="0">
                          <a:solidFill>
                            <a:srgbClr val="000000"/>
                          </a:solidFill>
                          <a:latin typeface="+mn-lt"/>
                        </a:rPr>
                        <a:t>4</a:t>
                      </a:r>
                    </a:p>
                    <a:p>
                      <a:pPr marL="0" marR="0" lvl="0" indent="0" algn="ctr" defTabSz="3839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Hooldaja siseneb </a:t>
                      </a:r>
                      <a:r>
                        <a:rPr lang="en-US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CL-</a:t>
                      </a:r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lehele ID ja ajutise parooliga</a:t>
                      </a:r>
                      <a:endParaRPr lang="en-US" sz="900" b="1" u="sng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00408" marR="100408" marT="73504" marB="7350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u="sng" dirty="0">
                          <a:solidFill>
                            <a:srgbClr val="000000"/>
                          </a:solidFill>
                          <a:latin typeface="+mn-lt"/>
                        </a:rPr>
                        <a:t>5</a:t>
                      </a:r>
                    </a:p>
                    <a:p>
                      <a:pPr marL="0" marR="0" lvl="0" indent="0" algn="ctr" defTabSz="3839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Hooldaja loob CL-lehel uue konto</a:t>
                      </a:r>
                      <a:endParaRPr lang="en-US" sz="900" b="1" u="sng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00408" marR="100408" marT="73504" marB="7350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u="sng" dirty="0">
                          <a:solidFill>
                            <a:srgbClr val="000000"/>
                          </a:solidFill>
                          <a:latin typeface="+mn-lt"/>
                        </a:rPr>
                        <a:t>6</a:t>
                      </a:r>
                    </a:p>
                    <a:p>
                      <a:pPr algn="ctr"/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Hooldaja vahetab parooli ära (ID ei muutu</a:t>
                      </a:r>
                      <a:r>
                        <a:rPr lang="en-US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) </a:t>
                      </a:r>
                    </a:p>
                  </a:txBody>
                  <a:tcPr marL="100408" marR="100408" marT="73504" marB="7350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u="sng" dirty="0">
                          <a:solidFill>
                            <a:srgbClr val="000000"/>
                          </a:solidFill>
                          <a:latin typeface="+mn-lt"/>
                        </a:rPr>
                        <a:t>7</a:t>
                      </a:r>
                    </a:p>
                    <a:p>
                      <a:pPr marL="0" marR="0" lvl="0" indent="0" algn="ctr" defTabSz="3839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err="1">
                          <a:solidFill>
                            <a:srgbClr val="000000"/>
                          </a:solidFill>
                          <a:latin typeface="+mn-lt"/>
                        </a:rPr>
                        <a:t>CareLink</a:t>
                      </a:r>
                      <a:r>
                        <a:rPr lang="en-US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saadab patsiendile ligipääsutaotluse</a:t>
                      </a:r>
                      <a:endParaRPr lang="en-US" sz="900" b="1" u="sng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00408" marR="100408" marT="73504" marB="7350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u="sng" dirty="0">
                          <a:solidFill>
                            <a:srgbClr val="000000"/>
                          </a:solidFill>
                          <a:latin typeface="+mn-lt"/>
                        </a:rPr>
                        <a:t>8</a:t>
                      </a:r>
                    </a:p>
                    <a:p>
                      <a:pPr algn="ctr"/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Patsient annab hooldajale ligipääsu</a:t>
                      </a:r>
                      <a:endParaRPr lang="en-US" sz="900" b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00408" marR="100408" marT="73504" marB="7350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t-EE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Patsient kordab samme</a:t>
                      </a:r>
                      <a:r>
                        <a:rPr lang="en-US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 1-7 </a:t>
                      </a:r>
                      <a:r>
                        <a:rPr lang="et-EE" sz="900" b="1" i="1" u="sng" dirty="0">
                          <a:solidFill>
                            <a:srgbClr val="000000"/>
                          </a:solidFill>
                          <a:latin typeface="+mn-lt"/>
                        </a:rPr>
                        <a:t>iga</a:t>
                      </a:r>
                      <a:r>
                        <a:rPr lang="en-US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t-EE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uue</a:t>
                      </a:r>
                      <a:r>
                        <a:rPr lang="en-US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t-EE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hooldajaga</a:t>
                      </a:r>
                      <a:r>
                        <a:rPr lang="en-US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br>
                        <a:rPr lang="en-US" sz="900" b="1" i="1" dirty="0">
                          <a:solidFill>
                            <a:srgbClr val="000000"/>
                          </a:solidFill>
                          <a:latin typeface="+mn-lt"/>
                        </a:rPr>
                      </a:br>
                      <a:r>
                        <a:rPr lang="en-US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(</a:t>
                      </a:r>
                      <a:r>
                        <a:rPr lang="et-EE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kuni</a:t>
                      </a:r>
                      <a:r>
                        <a:rPr lang="en-US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 5)</a:t>
                      </a:r>
                    </a:p>
                  </a:txBody>
                  <a:tcPr marL="100408" marR="100408" marT="73504" marB="7350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87265979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xmlns="" id="{0F452C2A-E0B0-47E6-8952-82AF23E72E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8786333"/>
              </p:ext>
            </p:extLst>
          </p:nvPr>
        </p:nvGraphicFramePr>
        <p:xfrm>
          <a:off x="2322836" y="2404290"/>
          <a:ext cx="8924355" cy="7058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84871">
                  <a:extLst>
                    <a:ext uri="{9D8B030D-6E8A-4147-A177-3AD203B41FA5}">
                      <a16:colId xmlns:a16="http://schemas.microsoft.com/office/drawing/2014/main" xmlns="" val="3026948023"/>
                    </a:ext>
                  </a:extLst>
                </a:gridCol>
                <a:gridCol w="1784871">
                  <a:extLst>
                    <a:ext uri="{9D8B030D-6E8A-4147-A177-3AD203B41FA5}">
                      <a16:colId xmlns:a16="http://schemas.microsoft.com/office/drawing/2014/main" xmlns="" val="3505718370"/>
                    </a:ext>
                  </a:extLst>
                </a:gridCol>
                <a:gridCol w="1784871">
                  <a:extLst>
                    <a:ext uri="{9D8B030D-6E8A-4147-A177-3AD203B41FA5}">
                      <a16:colId xmlns:a16="http://schemas.microsoft.com/office/drawing/2014/main" xmlns="" val="871917028"/>
                    </a:ext>
                  </a:extLst>
                </a:gridCol>
                <a:gridCol w="1784871">
                  <a:extLst>
                    <a:ext uri="{9D8B030D-6E8A-4147-A177-3AD203B41FA5}">
                      <a16:colId xmlns:a16="http://schemas.microsoft.com/office/drawing/2014/main" xmlns="" val="3971780560"/>
                    </a:ext>
                  </a:extLst>
                </a:gridCol>
                <a:gridCol w="1784871">
                  <a:extLst>
                    <a:ext uri="{9D8B030D-6E8A-4147-A177-3AD203B41FA5}">
                      <a16:colId xmlns:a16="http://schemas.microsoft.com/office/drawing/2014/main" xmlns="" val="3244985605"/>
                    </a:ext>
                  </a:extLst>
                </a:gridCol>
              </a:tblGrid>
              <a:tr h="705808">
                <a:tc>
                  <a:txBody>
                    <a:bodyPr/>
                    <a:lstStyle/>
                    <a:p>
                      <a:pPr algn="ctr"/>
                      <a:r>
                        <a:rPr lang="en-US" sz="900" b="1" u="sng" dirty="0">
                          <a:solidFill>
                            <a:srgbClr val="000000"/>
                          </a:solidFill>
                          <a:latin typeface="+mn-lt"/>
                        </a:rPr>
                        <a:t>1</a:t>
                      </a:r>
                    </a:p>
                    <a:p>
                      <a:pPr algn="ctr"/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Patsient loob </a:t>
                      </a:r>
                      <a:r>
                        <a:rPr lang="en-US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CL</a:t>
                      </a:r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-lehel</a:t>
                      </a:r>
                      <a:r>
                        <a:rPr lang="en-US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konto</a:t>
                      </a:r>
                      <a:r>
                        <a:rPr lang="en-US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, </a:t>
                      </a:r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kui tal seda pole</a:t>
                      </a:r>
                      <a:endParaRPr lang="en-US" sz="900" b="1" u="sng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00408" marR="100408" marT="73504" marB="7350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u="sng" dirty="0">
                          <a:solidFill>
                            <a:srgbClr val="000000"/>
                          </a:solidFill>
                          <a:latin typeface="+mn-lt"/>
                        </a:rPr>
                        <a:t>2</a:t>
                      </a:r>
                    </a:p>
                    <a:p>
                      <a:pPr marL="0" marR="0" lvl="0" indent="0" algn="ctr" defTabSz="45701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Hooldaja loob CL-lehel uue konto, valides omale ise </a:t>
                      </a:r>
                      <a:r>
                        <a:rPr lang="en-US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ID </a:t>
                      </a:r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ja parooli</a:t>
                      </a:r>
                      <a:endParaRPr lang="en-US" sz="900" b="1" u="sng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00408" marR="100408" marT="73504" marB="7350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u="sng" dirty="0">
                          <a:solidFill>
                            <a:srgbClr val="000000"/>
                          </a:solidFill>
                          <a:latin typeface="+mn-lt"/>
                        </a:rPr>
                        <a:t>3</a:t>
                      </a:r>
                    </a:p>
                    <a:p>
                      <a:pPr marL="0" marR="0" lvl="0" indent="0" algn="ctr" defTabSz="38390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err="1">
                          <a:solidFill>
                            <a:srgbClr val="000000"/>
                          </a:solidFill>
                          <a:latin typeface="+mn-lt"/>
                        </a:rPr>
                        <a:t>CareLink</a:t>
                      </a:r>
                      <a:r>
                        <a:rPr lang="en-US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saadab patsiendile ligipääsutaotluse, milleks tuleb sisestada tema enda ID</a:t>
                      </a:r>
                      <a:endParaRPr lang="en-US" sz="900" b="1" u="sng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00408" marR="100408" marT="73504" marB="7350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b="1" u="sng" dirty="0">
                          <a:solidFill>
                            <a:srgbClr val="000000"/>
                          </a:solidFill>
                          <a:latin typeface="+mn-lt"/>
                        </a:rPr>
                        <a:t>4</a:t>
                      </a:r>
                    </a:p>
                    <a:p>
                      <a:pPr algn="ctr"/>
                      <a:r>
                        <a:rPr lang="et-EE" sz="900" b="0" dirty="0">
                          <a:solidFill>
                            <a:srgbClr val="000000"/>
                          </a:solidFill>
                          <a:latin typeface="+mn-lt"/>
                        </a:rPr>
                        <a:t>Patsient annab hooldajale ligipääsu</a:t>
                      </a:r>
                      <a:endParaRPr lang="en-US" sz="900" b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100408" marR="100408" marT="73504" marB="7350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t-EE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Patsient kordab iga uue hooldajaga </a:t>
                      </a:r>
                      <a:r>
                        <a:rPr lang="et-EE" sz="900" b="1" i="1" u="sng" dirty="0">
                          <a:solidFill>
                            <a:srgbClr val="000000"/>
                          </a:solidFill>
                          <a:latin typeface="+mn-lt"/>
                        </a:rPr>
                        <a:t>ainult</a:t>
                      </a:r>
                      <a:r>
                        <a:rPr lang="en-US" sz="900" b="1" i="1" u="sng" dirty="0">
                          <a:solidFill>
                            <a:srgbClr val="000000"/>
                          </a:solidFill>
                          <a:latin typeface="+mn-lt"/>
                        </a:rPr>
                        <a:t> 4</a:t>
                      </a:r>
                      <a:r>
                        <a:rPr lang="et-EE" sz="900" b="1" i="1" u="sng" dirty="0">
                          <a:solidFill>
                            <a:srgbClr val="000000"/>
                          </a:solidFill>
                          <a:latin typeface="+mn-lt"/>
                        </a:rPr>
                        <a:t>. sammu</a:t>
                      </a:r>
                      <a:r>
                        <a:rPr lang="en-US" sz="900" b="1" i="1" u="sng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/>
                      </a:r>
                      <a:br>
                        <a:rPr lang="en-US" sz="900" b="1" i="1" dirty="0">
                          <a:solidFill>
                            <a:srgbClr val="000000"/>
                          </a:solidFill>
                          <a:latin typeface="+mn-lt"/>
                        </a:rPr>
                      </a:br>
                      <a:r>
                        <a:rPr lang="en-US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(</a:t>
                      </a:r>
                      <a:r>
                        <a:rPr lang="et-EE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kuni</a:t>
                      </a:r>
                      <a:r>
                        <a:rPr lang="en-US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 5 </a:t>
                      </a:r>
                      <a:r>
                        <a:rPr lang="et-EE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jälgijat</a:t>
                      </a:r>
                      <a:r>
                        <a:rPr lang="en-US" sz="900" b="1" i="1" dirty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100408" marR="100408" marT="73504" marB="73504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87265979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0024A2C6-F075-4112-88B9-214EE8DAFB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85572" y="3115759"/>
            <a:ext cx="1552575" cy="27622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558D96B9-5234-4C80-8F24-39C5C05D6BF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815" t="27960" r="3763" b="27886"/>
          <a:stretch/>
        </p:blipFill>
        <p:spPr>
          <a:xfrm>
            <a:off x="6868936" y="4140637"/>
            <a:ext cx="1421829" cy="121964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F4A1150F-5458-41A3-B248-8D45DE74003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21880"/>
          <a:stretch/>
        </p:blipFill>
        <p:spPr>
          <a:xfrm>
            <a:off x="8745143" y="3115761"/>
            <a:ext cx="1550486" cy="272851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E7A9DB15-9C74-4E61-A69B-CBD2F507FD9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75985" y="3115760"/>
            <a:ext cx="1550486" cy="2766924"/>
          </a:xfrm>
          <a:prstGeom prst="rect">
            <a:avLst/>
          </a:prstGeom>
        </p:spPr>
      </p:pic>
      <p:pic>
        <p:nvPicPr>
          <p:cNvPr id="20" name="Picture 2" descr="Related image">
            <a:extLst>
              <a:ext uri="{FF2B5EF4-FFF2-40B4-BE49-F238E27FC236}">
                <a16:creationId xmlns:a16="http://schemas.microsoft.com/office/drawing/2014/main" xmlns="" id="{70192A76-FC25-4FA6-92F0-229E80F5D8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984" y="5527543"/>
            <a:ext cx="700932" cy="700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DDA45DC-B238-42AB-A69E-4CFAA5B2CB19}"/>
              </a:ext>
            </a:extLst>
          </p:cNvPr>
          <p:cNvSpPr/>
          <p:nvPr/>
        </p:nvSpPr>
        <p:spPr>
          <a:xfrm>
            <a:off x="-458893" y="999003"/>
            <a:ext cx="280740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058" lvl="2" defTabSz="457029">
              <a:defRPr/>
            </a:pPr>
            <a:r>
              <a:rPr lang="et-EE" sz="4000" b="1" dirty="0">
                <a:solidFill>
                  <a:srgbClr val="001E46"/>
                </a:solidFill>
                <a:latin typeface="Effra"/>
              </a:rPr>
              <a:t>VANA</a:t>
            </a:r>
            <a:endParaRPr lang="en-US" sz="4000" b="1" i="1" dirty="0">
              <a:solidFill>
                <a:srgbClr val="001E46"/>
              </a:solidFill>
              <a:latin typeface="Effr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E4CD1506-4A32-4F47-A364-4EF84692A300}"/>
              </a:ext>
            </a:extLst>
          </p:cNvPr>
          <p:cNvSpPr/>
          <p:nvPr/>
        </p:nvSpPr>
        <p:spPr>
          <a:xfrm>
            <a:off x="-287442" y="2262053"/>
            <a:ext cx="280740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14058" lvl="2" defTabSz="457029">
              <a:defRPr/>
            </a:pPr>
            <a:r>
              <a:rPr lang="et-EE" sz="4000" b="1" i="1" dirty="0">
                <a:solidFill>
                  <a:srgbClr val="001E46"/>
                </a:solidFill>
                <a:latin typeface="Effra"/>
              </a:rPr>
              <a:t>UUS</a:t>
            </a:r>
            <a:endParaRPr lang="en-US" sz="4000" b="1" i="1" dirty="0">
              <a:solidFill>
                <a:srgbClr val="001E46"/>
              </a:solidFill>
              <a:latin typeface="Effra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xmlns="" id="{BA837F56-2C12-4DFD-8E38-C1FB3BB9FE38}"/>
              </a:ext>
            </a:extLst>
          </p:cNvPr>
          <p:cNvCxnSpPr>
            <a:cxnSpLocks/>
          </p:cNvCxnSpPr>
          <p:nvPr/>
        </p:nvCxnSpPr>
        <p:spPr>
          <a:xfrm>
            <a:off x="1218618" y="1706889"/>
            <a:ext cx="0" cy="555164"/>
          </a:xfrm>
          <a:prstGeom prst="straightConnector1">
            <a:avLst/>
          </a:prstGeom>
          <a:ln w="57150" cap="sq">
            <a:solidFill>
              <a:srgbClr val="FFC000"/>
            </a:solidFill>
            <a:round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8">
            <a:extLst>
              <a:ext uri="{FF2B5EF4-FFF2-40B4-BE49-F238E27FC236}">
                <a16:creationId xmlns:a16="http://schemas.microsoft.com/office/drawing/2014/main" xmlns="" id="{055C62BF-BD5B-41C3-B009-9803AF480A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029">
              <a:defRPr/>
            </a:pPr>
            <a:r>
              <a:rPr lang="en-GB" dirty="0">
                <a:solidFill>
                  <a:srgbClr val="FFFFFF"/>
                </a:solidFill>
              </a:rPr>
              <a:t>CARELINK HYPERCARE 2019  |   </a:t>
            </a:r>
            <a:r>
              <a:rPr lang="et-EE" dirty="0">
                <a:solidFill>
                  <a:srgbClr val="FFFFFF"/>
                </a:solidFill>
              </a:rPr>
              <a:t>24. </a:t>
            </a:r>
            <a:r>
              <a:rPr lang="et-EE" dirty="0" err="1">
                <a:solidFill>
                  <a:srgbClr val="FFFFFF"/>
                </a:solidFill>
              </a:rPr>
              <a:t>ok</a:t>
            </a:r>
            <a:r>
              <a:rPr lang="en-GB" dirty="0">
                <a:solidFill>
                  <a:srgbClr val="FFFFFF"/>
                </a:solidFill>
              </a:rPr>
              <a:t>to</a:t>
            </a:r>
            <a:r>
              <a:rPr lang="et-EE" dirty="0">
                <a:solidFill>
                  <a:srgbClr val="FFFFFF"/>
                </a:solidFill>
              </a:rPr>
              <a:t>o</a:t>
            </a:r>
            <a:r>
              <a:rPr lang="en-GB" dirty="0" err="1">
                <a:solidFill>
                  <a:srgbClr val="FFFFFF"/>
                </a:solidFill>
              </a:rPr>
              <a:t>ber</a:t>
            </a:r>
            <a:r>
              <a:rPr lang="en-GB" dirty="0">
                <a:solidFill>
                  <a:srgbClr val="FFFFFF"/>
                </a:solidFill>
              </a:rPr>
              <a:t> 2019   |   </a:t>
            </a:r>
            <a:r>
              <a:rPr lang="et-EE" dirty="0">
                <a:solidFill>
                  <a:srgbClr val="FFFFFF"/>
                </a:solidFill>
              </a:rPr>
              <a:t>Konfidentsiaalne, ainult </a:t>
            </a:r>
            <a:r>
              <a:rPr lang="et-EE" dirty="0" err="1">
                <a:solidFill>
                  <a:srgbClr val="FFFFFF"/>
                </a:solidFill>
              </a:rPr>
              <a:t>sisekasutuseks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758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2" grpId="0"/>
      <p:bldP spid="1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632E941-B874-4C1E-A3CC-079DAD628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129" y="414571"/>
            <a:ext cx="11430000" cy="304800"/>
          </a:xfrm>
        </p:spPr>
        <p:txBody>
          <a:bodyPr/>
          <a:lstStyle/>
          <a:p>
            <a:r>
              <a:rPr lang="en-US" sz="2000" dirty="0" err="1"/>
              <a:t>CareLink</a:t>
            </a:r>
            <a:r>
              <a:rPr lang="en-US" sz="2000" dirty="0"/>
              <a:t> Personal 14.0 - </a:t>
            </a:r>
            <a:r>
              <a:rPr lang="et-EE" sz="2000" dirty="0" smtClean="0"/>
              <a:t>HOOLDUSPARTNERI </a:t>
            </a:r>
            <a:r>
              <a:rPr lang="et-EE" sz="2000" dirty="0"/>
              <a:t>REGISTREERuMINE JA LIGIPÄÄS</a:t>
            </a:r>
            <a:endParaRPr lang="en-US" sz="200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586EFEAB-3342-4417-A639-2421DE14234F}"/>
              </a:ext>
            </a:extLst>
          </p:cNvPr>
          <p:cNvSpPr txBox="1">
            <a:spLocks/>
          </p:cNvSpPr>
          <p:nvPr/>
        </p:nvSpPr>
        <p:spPr>
          <a:xfrm>
            <a:off x="478970" y="783239"/>
            <a:ext cx="11430000" cy="4332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029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333" b="1" i="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80842">
              <a:defRPr/>
            </a:pPr>
            <a:r>
              <a:rPr lang="et-EE" sz="1800" dirty="0" smtClean="0">
                <a:solidFill>
                  <a:srgbClr val="001E46"/>
                </a:solidFill>
                <a:latin typeface="Effra"/>
              </a:rPr>
              <a:t>HOOLDUSPARTNER </a:t>
            </a:r>
            <a:r>
              <a:rPr lang="et-EE" sz="1800" dirty="0">
                <a:solidFill>
                  <a:srgbClr val="001E46"/>
                </a:solidFill>
                <a:latin typeface="Effra"/>
              </a:rPr>
              <a:t>SAAB REGISTREERUDA C</a:t>
            </a:r>
            <a:r>
              <a:rPr lang="en-US" sz="1800" dirty="0" err="1">
                <a:solidFill>
                  <a:srgbClr val="001E46"/>
                </a:solidFill>
                <a:latin typeface="Effra"/>
              </a:rPr>
              <a:t>areLink</a:t>
            </a:r>
            <a:r>
              <a:rPr lang="en-US" sz="1800" dirty="0">
                <a:solidFill>
                  <a:srgbClr val="001E46"/>
                </a:solidFill>
                <a:latin typeface="Effra"/>
              </a:rPr>
              <a:t>™ Personal </a:t>
            </a:r>
            <a:r>
              <a:rPr lang="et-EE" sz="1800" dirty="0">
                <a:solidFill>
                  <a:srgbClr val="001E46"/>
                </a:solidFill>
                <a:latin typeface="Effra"/>
              </a:rPr>
              <a:t>VEEBILEHE KAUDU</a:t>
            </a:r>
            <a:endParaRPr lang="en-US" sz="1800" dirty="0">
              <a:solidFill>
                <a:srgbClr val="001E46"/>
              </a:solidFill>
              <a:latin typeface="Effra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49DDD3F4-A89B-45E2-90A5-E5221AE5163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3791" y="1216490"/>
            <a:ext cx="8124418" cy="482185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A8A0F3BF-42B6-4104-AA70-4EF6B5A11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029">
              <a:defRPr/>
            </a:pPr>
            <a:r>
              <a:rPr lang="en-GB" dirty="0">
                <a:solidFill>
                  <a:srgbClr val="FFFFFF"/>
                </a:solidFill>
              </a:rPr>
              <a:t>CARELINK HYPERCARE 2019  |   </a:t>
            </a:r>
            <a:r>
              <a:rPr lang="et-EE" dirty="0">
                <a:solidFill>
                  <a:srgbClr val="FFFFFF"/>
                </a:solidFill>
              </a:rPr>
              <a:t>24. </a:t>
            </a:r>
            <a:r>
              <a:rPr lang="et-EE" dirty="0" err="1">
                <a:solidFill>
                  <a:srgbClr val="FFFFFF"/>
                </a:solidFill>
              </a:rPr>
              <a:t>ok</a:t>
            </a:r>
            <a:r>
              <a:rPr lang="en-GB" dirty="0">
                <a:solidFill>
                  <a:srgbClr val="FFFFFF"/>
                </a:solidFill>
              </a:rPr>
              <a:t>to</a:t>
            </a:r>
            <a:r>
              <a:rPr lang="et-EE" dirty="0">
                <a:solidFill>
                  <a:srgbClr val="FFFFFF"/>
                </a:solidFill>
              </a:rPr>
              <a:t>o</a:t>
            </a:r>
            <a:r>
              <a:rPr lang="en-GB" dirty="0" err="1">
                <a:solidFill>
                  <a:srgbClr val="FFFFFF"/>
                </a:solidFill>
              </a:rPr>
              <a:t>ber</a:t>
            </a:r>
            <a:r>
              <a:rPr lang="en-GB" dirty="0">
                <a:solidFill>
                  <a:srgbClr val="FFFFFF"/>
                </a:solidFill>
              </a:rPr>
              <a:t> 2019   |   </a:t>
            </a:r>
            <a:r>
              <a:rPr lang="et-EE" dirty="0">
                <a:solidFill>
                  <a:srgbClr val="FFFFFF"/>
                </a:solidFill>
              </a:rPr>
              <a:t>Konfidentsiaalne, ainult </a:t>
            </a:r>
            <a:r>
              <a:rPr lang="et-EE" dirty="0" err="1">
                <a:solidFill>
                  <a:srgbClr val="FFFFFF"/>
                </a:solidFill>
              </a:rPr>
              <a:t>sisekasutusek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5F3D51BD-5570-42A6-8E83-C3C0D4DCFD12}"/>
              </a:ext>
            </a:extLst>
          </p:cNvPr>
          <p:cNvSpPr txBox="1"/>
          <p:nvPr/>
        </p:nvSpPr>
        <p:spPr>
          <a:xfrm>
            <a:off x="4941455" y="3024910"/>
            <a:ext cx="4410364" cy="1246909"/>
          </a:xfrm>
          <a:prstGeom prst="rect">
            <a:avLst/>
          </a:prstGeom>
          <a:noFill/>
          <a:ln w="76200">
            <a:solidFill>
              <a:srgbClr val="FF0000"/>
            </a:solidFill>
          </a:ln>
        </p:spPr>
        <p:txBody>
          <a:bodyPr wrap="square" lIns="0" tIns="0" rIns="0" bIns="0" rtlCol="0" anchor="t" anchorCtr="0">
            <a:noAutofit/>
          </a:bodyPr>
          <a:lstStyle/>
          <a:p>
            <a:pPr marL="96569" indent="-96569" defTabSz="457029">
              <a:lnSpc>
                <a:spcPts val="1583"/>
              </a:lnSpc>
              <a:buFont typeface="Wingdings" charset="2"/>
              <a:buChar char="§"/>
              <a:defRPr/>
            </a:pPr>
            <a:endParaRPr lang="en-GB" sz="1333" dirty="0">
              <a:solidFill>
                <a:srgbClr val="001E46"/>
              </a:solidFill>
              <a:latin typeface="Effra"/>
              <a:cs typeface="Effra"/>
            </a:endParaRPr>
          </a:p>
        </p:txBody>
      </p:sp>
    </p:spTree>
    <p:extLst>
      <p:ext uri="{BB962C8B-B14F-4D97-AF65-F5344CB8AC3E}">
        <p14:creationId xmlns:p14="http://schemas.microsoft.com/office/powerpoint/2010/main" val="18425681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01D881B9-3F98-44E1-A632-28EC37CEA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029">
              <a:defRPr/>
            </a:pPr>
            <a:r>
              <a:rPr lang="en-GB" dirty="0">
                <a:solidFill>
                  <a:srgbClr val="FFFFFF"/>
                </a:solidFill>
              </a:rPr>
              <a:t>CARELINK HYPERCARE 2019  |   </a:t>
            </a:r>
            <a:r>
              <a:rPr lang="et-EE" dirty="0">
                <a:solidFill>
                  <a:srgbClr val="FFFFFF"/>
                </a:solidFill>
              </a:rPr>
              <a:t>24. </a:t>
            </a:r>
            <a:r>
              <a:rPr lang="et-EE" dirty="0" err="1">
                <a:solidFill>
                  <a:srgbClr val="FFFFFF"/>
                </a:solidFill>
              </a:rPr>
              <a:t>ok</a:t>
            </a:r>
            <a:r>
              <a:rPr lang="en-GB" dirty="0">
                <a:solidFill>
                  <a:srgbClr val="FFFFFF"/>
                </a:solidFill>
              </a:rPr>
              <a:t>to</a:t>
            </a:r>
            <a:r>
              <a:rPr lang="et-EE" dirty="0">
                <a:solidFill>
                  <a:srgbClr val="FFFFFF"/>
                </a:solidFill>
              </a:rPr>
              <a:t>o</a:t>
            </a:r>
            <a:r>
              <a:rPr lang="en-GB" dirty="0" err="1">
                <a:solidFill>
                  <a:srgbClr val="FFFFFF"/>
                </a:solidFill>
              </a:rPr>
              <a:t>ber</a:t>
            </a:r>
            <a:r>
              <a:rPr lang="en-GB" dirty="0">
                <a:solidFill>
                  <a:srgbClr val="FFFFFF"/>
                </a:solidFill>
              </a:rPr>
              <a:t> 2019   |   </a:t>
            </a:r>
            <a:r>
              <a:rPr lang="et-EE" dirty="0">
                <a:solidFill>
                  <a:srgbClr val="FFFFFF"/>
                </a:solidFill>
              </a:rPr>
              <a:t>Konfidentsiaalne, ainult </a:t>
            </a:r>
            <a:r>
              <a:rPr lang="et-EE" dirty="0" err="1">
                <a:solidFill>
                  <a:srgbClr val="FFFFFF"/>
                </a:solidFill>
              </a:rPr>
              <a:t>sisekasutusek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503306DD-12C2-400F-9FD0-72B508111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eLink Personal 14.0 - </a:t>
            </a:r>
            <a:r>
              <a:rPr lang="et-EE" dirty="0" smtClean="0"/>
              <a:t>HOOLDUSPARTNERI </a:t>
            </a:r>
            <a:r>
              <a:rPr lang="et-EE" dirty="0"/>
              <a:t>REGISTREERuMINE JA LIGIPÄÄS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1512D42D-41CD-44C9-9636-61CEFB4315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t-EE" dirty="0"/>
              <a:t>Seejärel teostab </a:t>
            </a:r>
            <a:r>
              <a:rPr lang="et-EE" dirty="0" smtClean="0"/>
              <a:t>hoolduspartner </a:t>
            </a:r>
            <a:r>
              <a:rPr lang="et-EE" dirty="0"/>
              <a:t>järgmised sammud samamoodi nagu patsiendi konto loomisel</a:t>
            </a:r>
            <a:endParaRPr lang="en-GB" dirty="0"/>
          </a:p>
          <a:p>
            <a:endParaRPr lang="en-GB" dirty="0"/>
          </a:p>
          <a:p>
            <a:pPr lvl="1"/>
            <a:r>
              <a:rPr lang="et-EE" dirty="0"/>
              <a:t>Annab vajalikud nõusolekud</a:t>
            </a:r>
            <a:endParaRPr lang="en-GB" dirty="0"/>
          </a:p>
          <a:p>
            <a:pPr lvl="1"/>
            <a:r>
              <a:rPr lang="et-EE" dirty="0"/>
              <a:t>Valib kasutajanime ja parooli</a:t>
            </a:r>
            <a:endParaRPr lang="en-GB" dirty="0"/>
          </a:p>
          <a:p>
            <a:pPr lvl="1"/>
            <a:r>
              <a:rPr lang="et-EE" dirty="0"/>
              <a:t>Kinnitab meiliaadressi</a:t>
            </a:r>
            <a:endParaRPr lang="en-GB" dirty="0"/>
          </a:p>
          <a:p>
            <a:endParaRPr lang="en-GB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3914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632E941-B874-4C1E-A3CC-079DAD628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129" y="414571"/>
            <a:ext cx="11430000" cy="304800"/>
          </a:xfrm>
        </p:spPr>
        <p:txBody>
          <a:bodyPr/>
          <a:lstStyle/>
          <a:p>
            <a:r>
              <a:rPr lang="en-US" sz="2000" dirty="0" err="1"/>
              <a:t>CareLink</a:t>
            </a:r>
            <a:r>
              <a:rPr lang="en-US" sz="2000" dirty="0"/>
              <a:t> Personal 14.0 - </a:t>
            </a:r>
            <a:r>
              <a:rPr lang="et-EE" sz="2000" dirty="0" smtClean="0"/>
              <a:t>HOOLDUSPARTNERI </a:t>
            </a:r>
            <a:r>
              <a:rPr lang="et-EE" sz="2000" dirty="0"/>
              <a:t>REGISTREERUMINE JA LIGIPÄÄS</a:t>
            </a:r>
            <a:endParaRPr lang="en-US" sz="200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586EFEAB-3342-4417-A639-2421DE14234F}"/>
              </a:ext>
            </a:extLst>
          </p:cNvPr>
          <p:cNvSpPr txBox="1">
            <a:spLocks/>
          </p:cNvSpPr>
          <p:nvPr/>
        </p:nvSpPr>
        <p:spPr>
          <a:xfrm>
            <a:off x="478970" y="783239"/>
            <a:ext cx="11430000" cy="4332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029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333" b="1" i="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80842">
              <a:defRPr/>
            </a:pPr>
            <a:r>
              <a:rPr lang="et-EE" sz="1800" dirty="0" smtClean="0">
                <a:solidFill>
                  <a:srgbClr val="001E46"/>
                </a:solidFill>
                <a:latin typeface="Effra"/>
              </a:rPr>
              <a:t>HOOLDUSPARTNER </a:t>
            </a:r>
            <a:r>
              <a:rPr lang="et-EE" sz="1800" dirty="0">
                <a:solidFill>
                  <a:srgbClr val="001E46"/>
                </a:solidFill>
                <a:latin typeface="Effra"/>
              </a:rPr>
              <a:t>LOGIB SISSE JA SAADAB PATSIENDILE LIGIPÄÄSUTAOTLUSE</a:t>
            </a:r>
            <a:endParaRPr lang="en-US" sz="1800" dirty="0">
              <a:solidFill>
                <a:srgbClr val="001E46"/>
              </a:solidFill>
              <a:latin typeface="Effra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A74AE40B-C940-4703-A39E-CF2B13B12A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7902" y="1216490"/>
            <a:ext cx="7615657" cy="502633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FF8034DB-B0CF-436D-B968-CE849E886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029">
              <a:defRPr/>
            </a:pPr>
            <a:r>
              <a:rPr lang="en-GB" dirty="0">
                <a:solidFill>
                  <a:srgbClr val="FFFFFF"/>
                </a:solidFill>
              </a:rPr>
              <a:t>CARELINK HYPERCARE 2019  |   </a:t>
            </a:r>
            <a:r>
              <a:rPr lang="et-EE" dirty="0">
                <a:solidFill>
                  <a:srgbClr val="FFFFFF"/>
                </a:solidFill>
              </a:rPr>
              <a:t>24. </a:t>
            </a:r>
            <a:r>
              <a:rPr lang="et-EE" dirty="0" err="1">
                <a:solidFill>
                  <a:srgbClr val="FFFFFF"/>
                </a:solidFill>
              </a:rPr>
              <a:t>ok</a:t>
            </a:r>
            <a:r>
              <a:rPr lang="en-GB" dirty="0">
                <a:solidFill>
                  <a:srgbClr val="FFFFFF"/>
                </a:solidFill>
              </a:rPr>
              <a:t>to</a:t>
            </a:r>
            <a:r>
              <a:rPr lang="et-EE" dirty="0">
                <a:solidFill>
                  <a:srgbClr val="FFFFFF"/>
                </a:solidFill>
              </a:rPr>
              <a:t>o</a:t>
            </a:r>
            <a:r>
              <a:rPr lang="en-GB" dirty="0" err="1">
                <a:solidFill>
                  <a:srgbClr val="FFFFFF"/>
                </a:solidFill>
              </a:rPr>
              <a:t>ber</a:t>
            </a:r>
            <a:r>
              <a:rPr lang="en-GB" dirty="0">
                <a:solidFill>
                  <a:srgbClr val="FFFFFF"/>
                </a:solidFill>
              </a:rPr>
              <a:t> 2019   |   </a:t>
            </a:r>
            <a:r>
              <a:rPr lang="et-EE" dirty="0">
                <a:solidFill>
                  <a:srgbClr val="FFFFFF"/>
                </a:solidFill>
              </a:rPr>
              <a:t>Konfidentsiaalne, ainult </a:t>
            </a:r>
            <a:r>
              <a:rPr lang="et-EE" dirty="0" err="1">
                <a:solidFill>
                  <a:srgbClr val="FFFFFF"/>
                </a:solidFill>
              </a:rPr>
              <a:t>sisekasutuseks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638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632E941-B874-4C1E-A3CC-079DAD6289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129" y="414571"/>
            <a:ext cx="11430000" cy="304800"/>
          </a:xfrm>
        </p:spPr>
        <p:txBody>
          <a:bodyPr/>
          <a:lstStyle/>
          <a:p>
            <a:r>
              <a:rPr lang="en-US" sz="2000" dirty="0" err="1"/>
              <a:t>CareLink</a:t>
            </a:r>
            <a:r>
              <a:rPr lang="en-US" sz="2000" dirty="0"/>
              <a:t> Personal 14.0 - </a:t>
            </a:r>
            <a:r>
              <a:rPr lang="et-EE" sz="2000" dirty="0" smtClean="0"/>
              <a:t>HOOLDUSPARTNERI </a:t>
            </a:r>
            <a:r>
              <a:rPr lang="et-EE" sz="2000" dirty="0"/>
              <a:t>REGISTREERUMINE JA LIGIPÄÄS</a:t>
            </a:r>
            <a:endParaRPr lang="en-US" sz="200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xmlns="" id="{586EFEAB-3342-4417-A639-2421DE14234F}"/>
              </a:ext>
            </a:extLst>
          </p:cNvPr>
          <p:cNvSpPr txBox="1">
            <a:spLocks/>
          </p:cNvSpPr>
          <p:nvPr/>
        </p:nvSpPr>
        <p:spPr>
          <a:xfrm>
            <a:off x="478970" y="783239"/>
            <a:ext cx="11430000" cy="4332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457029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333" b="1" i="0" kern="1200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380842">
              <a:defRPr/>
            </a:pPr>
            <a:r>
              <a:rPr lang="et-EE" sz="1800" dirty="0">
                <a:solidFill>
                  <a:srgbClr val="001E46"/>
                </a:solidFill>
                <a:latin typeface="Effra"/>
              </a:rPr>
              <a:t>LIGIPÄÄSUTAOTLUS SAADETUD </a:t>
            </a:r>
            <a:r>
              <a:rPr lang="en-US" sz="1800" dirty="0">
                <a:solidFill>
                  <a:srgbClr val="001E46"/>
                </a:solidFill>
                <a:latin typeface="Effra"/>
              </a:rPr>
              <a:t>– Pat</a:t>
            </a:r>
            <a:r>
              <a:rPr lang="et-EE" sz="1800" dirty="0">
                <a:solidFill>
                  <a:srgbClr val="001E46"/>
                </a:solidFill>
                <a:latin typeface="Effra"/>
              </a:rPr>
              <a:t>SIENT SAAB OMA KONTOLE MEILITEAVITUSE</a:t>
            </a:r>
            <a:endParaRPr lang="en-US" sz="1800" dirty="0">
              <a:solidFill>
                <a:srgbClr val="001E46"/>
              </a:solidFill>
              <a:latin typeface="Effra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80D5016-561D-4490-BD9D-56B3F8CF66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4504" y="1122364"/>
            <a:ext cx="7662993" cy="5046524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962AF80D-FEAB-488F-8C0D-B6CA7C9B9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029">
              <a:defRPr/>
            </a:pPr>
            <a:r>
              <a:rPr lang="en-GB" dirty="0">
                <a:solidFill>
                  <a:srgbClr val="FFFFFF"/>
                </a:solidFill>
              </a:rPr>
              <a:t>CARELINK HYPERCARE 2019  |   </a:t>
            </a:r>
            <a:r>
              <a:rPr lang="et-EE" dirty="0">
                <a:solidFill>
                  <a:srgbClr val="FFFFFF"/>
                </a:solidFill>
              </a:rPr>
              <a:t>24. </a:t>
            </a:r>
            <a:r>
              <a:rPr lang="et-EE" dirty="0" err="1">
                <a:solidFill>
                  <a:srgbClr val="FFFFFF"/>
                </a:solidFill>
              </a:rPr>
              <a:t>ok</a:t>
            </a:r>
            <a:r>
              <a:rPr lang="en-GB" dirty="0">
                <a:solidFill>
                  <a:srgbClr val="FFFFFF"/>
                </a:solidFill>
              </a:rPr>
              <a:t>to</a:t>
            </a:r>
            <a:r>
              <a:rPr lang="et-EE" dirty="0">
                <a:solidFill>
                  <a:srgbClr val="FFFFFF"/>
                </a:solidFill>
              </a:rPr>
              <a:t>o</a:t>
            </a:r>
            <a:r>
              <a:rPr lang="en-GB" dirty="0" err="1">
                <a:solidFill>
                  <a:srgbClr val="FFFFFF"/>
                </a:solidFill>
              </a:rPr>
              <a:t>ber</a:t>
            </a:r>
            <a:r>
              <a:rPr lang="en-GB" dirty="0">
                <a:solidFill>
                  <a:srgbClr val="FFFFFF"/>
                </a:solidFill>
              </a:rPr>
              <a:t> 2019   |   </a:t>
            </a:r>
            <a:r>
              <a:rPr lang="et-EE" dirty="0">
                <a:solidFill>
                  <a:srgbClr val="FFFFFF"/>
                </a:solidFill>
              </a:rPr>
              <a:t>Konfidentsiaalne, ainult </a:t>
            </a:r>
            <a:r>
              <a:rPr lang="et-EE" dirty="0" err="1">
                <a:solidFill>
                  <a:srgbClr val="FFFFFF"/>
                </a:solidFill>
              </a:rPr>
              <a:t>sisekasutuseks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0997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74A81D7D-976E-41B3-A5FB-47925CE5059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029">
              <a:defRPr/>
            </a:pPr>
            <a:r>
              <a:rPr lang="en-GB" dirty="0">
                <a:solidFill>
                  <a:srgbClr val="FFFFFF"/>
                </a:solidFill>
              </a:rPr>
              <a:t>CARELINK HYPERCARE 2019  |   </a:t>
            </a:r>
            <a:r>
              <a:rPr lang="et-EE" dirty="0">
                <a:solidFill>
                  <a:srgbClr val="FFFFFF"/>
                </a:solidFill>
              </a:rPr>
              <a:t>24. </a:t>
            </a:r>
            <a:r>
              <a:rPr lang="et-EE" dirty="0" err="1">
                <a:solidFill>
                  <a:srgbClr val="FFFFFF"/>
                </a:solidFill>
              </a:rPr>
              <a:t>ok</a:t>
            </a:r>
            <a:r>
              <a:rPr lang="en-GB" dirty="0">
                <a:solidFill>
                  <a:srgbClr val="FFFFFF"/>
                </a:solidFill>
              </a:rPr>
              <a:t>to</a:t>
            </a:r>
            <a:r>
              <a:rPr lang="et-EE" dirty="0">
                <a:solidFill>
                  <a:srgbClr val="FFFFFF"/>
                </a:solidFill>
              </a:rPr>
              <a:t>o</a:t>
            </a:r>
            <a:r>
              <a:rPr lang="en-GB" dirty="0" err="1">
                <a:solidFill>
                  <a:srgbClr val="FFFFFF"/>
                </a:solidFill>
              </a:rPr>
              <a:t>ber</a:t>
            </a:r>
            <a:r>
              <a:rPr lang="en-GB" dirty="0">
                <a:solidFill>
                  <a:srgbClr val="FFFFFF"/>
                </a:solidFill>
              </a:rPr>
              <a:t> 2019   |   </a:t>
            </a:r>
            <a:r>
              <a:rPr lang="et-EE" dirty="0">
                <a:solidFill>
                  <a:srgbClr val="FFFFFF"/>
                </a:solidFill>
              </a:rPr>
              <a:t>Konfidentsiaalne, ainult </a:t>
            </a:r>
            <a:r>
              <a:rPr lang="et-EE" dirty="0" err="1">
                <a:solidFill>
                  <a:srgbClr val="FFFFFF"/>
                </a:solidFill>
              </a:rPr>
              <a:t>sisekasutusek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360096BA-466F-4779-8197-45FFBB7165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/>
              <a:t>PATSIENT KINNITAB TAOTLUSE VÕI LÜKKAB SELLE TAGASI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26235D17-067A-46AC-BD4A-0BFA9FB2D5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t-EE" dirty="0"/>
              <a:t>Patsiendi kontole tuleb teavitus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62C48806-4755-44B5-BBB0-6AE8FCE8E73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2902" y="1654166"/>
            <a:ext cx="4143892" cy="936634"/>
          </a:xfrm>
          <a:prstGeom prst="rect">
            <a:avLst/>
          </a:prstGeom>
        </p:spPr>
      </p:pic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xmlns="" id="{B1B2044E-225F-4045-9AF2-1E3069E61987}"/>
              </a:ext>
            </a:extLst>
          </p:cNvPr>
          <p:cNvCxnSpPr/>
          <p:nvPr/>
        </p:nvCxnSpPr>
        <p:spPr>
          <a:xfrm>
            <a:off x="4600575" y="1533525"/>
            <a:ext cx="971550" cy="504825"/>
          </a:xfrm>
          <a:prstGeom prst="straightConnector1">
            <a:avLst/>
          </a:prstGeom>
          <a:ln w="12700" cap="sq">
            <a:solidFill>
              <a:srgbClr val="FF0000"/>
            </a:solidFill>
            <a:round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E9DF8369-472B-4A97-A6E4-F620C44502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2902" y="2856960"/>
            <a:ext cx="4143892" cy="116729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D58B50D4-62D4-4E86-A713-5C812785F9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14405" y="1626048"/>
            <a:ext cx="6010943" cy="4593778"/>
          </a:xfrm>
          <a:prstGeom prst="rect">
            <a:avLst/>
          </a:prstGeom>
        </p:spPr>
      </p:pic>
      <p:sp>
        <p:nvSpPr>
          <p:cNvPr id="10" name="Arrow: Right 9">
            <a:extLst>
              <a:ext uri="{FF2B5EF4-FFF2-40B4-BE49-F238E27FC236}">
                <a16:creationId xmlns:a16="http://schemas.microsoft.com/office/drawing/2014/main" xmlns="" id="{030FA90C-072D-4D6A-BB10-27F522F19D52}"/>
              </a:ext>
            </a:extLst>
          </p:cNvPr>
          <p:cNvSpPr/>
          <p:nvPr/>
        </p:nvSpPr>
        <p:spPr>
          <a:xfrm rot="8791474">
            <a:off x="8466925" y="2865643"/>
            <a:ext cx="1704975" cy="647700"/>
          </a:xfrm>
          <a:prstGeom prst="rightArrow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457029">
              <a:defRPr/>
            </a:pPr>
            <a:endParaRPr lang="en-GB" sz="1833" dirty="0">
              <a:solidFill>
                <a:srgbClr val="FFFFFF"/>
              </a:solidFill>
              <a:latin typeface="Effra"/>
            </a:endParaRPr>
          </a:p>
        </p:txBody>
      </p:sp>
    </p:spTree>
    <p:extLst>
      <p:ext uri="{BB962C8B-B14F-4D97-AF65-F5344CB8AC3E}">
        <p14:creationId xmlns:p14="http://schemas.microsoft.com/office/powerpoint/2010/main" val="802451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3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xmlns="" id="{3B345928-3745-40F6-BFDF-1A1586B9FF1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457029">
              <a:defRPr/>
            </a:pPr>
            <a:r>
              <a:rPr lang="en-GB" dirty="0">
                <a:solidFill>
                  <a:srgbClr val="FFFFFF"/>
                </a:solidFill>
              </a:rPr>
              <a:t>CARELINK HYPERCARE 2019  |   </a:t>
            </a:r>
            <a:r>
              <a:rPr lang="et-EE" dirty="0">
                <a:solidFill>
                  <a:srgbClr val="FFFFFF"/>
                </a:solidFill>
              </a:rPr>
              <a:t>24. </a:t>
            </a:r>
            <a:r>
              <a:rPr lang="et-EE" dirty="0" err="1">
                <a:solidFill>
                  <a:srgbClr val="FFFFFF"/>
                </a:solidFill>
              </a:rPr>
              <a:t>ok</a:t>
            </a:r>
            <a:r>
              <a:rPr lang="en-GB" dirty="0">
                <a:solidFill>
                  <a:srgbClr val="FFFFFF"/>
                </a:solidFill>
              </a:rPr>
              <a:t>to</a:t>
            </a:r>
            <a:r>
              <a:rPr lang="et-EE" dirty="0">
                <a:solidFill>
                  <a:srgbClr val="FFFFFF"/>
                </a:solidFill>
              </a:rPr>
              <a:t>o</a:t>
            </a:r>
            <a:r>
              <a:rPr lang="en-GB" dirty="0" err="1">
                <a:solidFill>
                  <a:srgbClr val="FFFFFF"/>
                </a:solidFill>
              </a:rPr>
              <a:t>ber</a:t>
            </a:r>
            <a:r>
              <a:rPr lang="en-GB" dirty="0">
                <a:solidFill>
                  <a:srgbClr val="FFFFFF"/>
                </a:solidFill>
              </a:rPr>
              <a:t> 2019   |   </a:t>
            </a:r>
            <a:r>
              <a:rPr lang="et-EE" dirty="0">
                <a:solidFill>
                  <a:srgbClr val="FFFFFF"/>
                </a:solidFill>
              </a:rPr>
              <a:t>Konfidentsiaalne, ainult </a:t>
            </a:r>
            <a:r>
              <a:rPr lang="et-EE" dirty="0" err="1">
                <a:solidFill>
                  <a:srgbClr val="FFFFFF"/>
                </a:solidFill>
              </a:rPr>
              <a:t>sisekasutusek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xmlns="" id="{0529500D-E19F-45BA-8EBD-E46780E14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t-EE" dirty="0"/>
              <a:t>PATSIENDI VALIKUD PÄRAST LIGIPÄÄSU ANDMIST</a:t>
            </a:r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D3D1DEF1-AC33-4CC5-87D3-BF91CDFAF4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B45D2250-DD86-47C2-A915-83F32F993B5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3032" y="2284767"/>
            <a:ext cx="8436507" cy="1917779"/>
          </a:xfrm>
          <a:prstGeom prst="rect">
            <a:avLst/>
          </a:prstGeom>
        </p:spPr>
      </p:pic>
      <p:sp>
        <p:nvSpPr>
          <p:cNvPr id="8" name="Arrow: Right 7">
            <a:extLst>
              <a:ext uri="{FF2B5EF4-FFF2-40B4-BE49-F238E27FC236}">
                <a16:creationId xmlns:a16="http://schemas.microsoft.com/office/drawing/2014/main" xmlns="" id="{15D0C9D2-963B-46A7-9F19-346A74715EB8}"/>
              </a:ext>
            </a:extLst>
          </p:cNvPr>
          <p:cNvSpPr/>
          <p:nvPr/>
        </p:nvSpPr>
        <p:spPr>
          <a:xfrm rot="14615116">
            <a:off x="6072539" y="4753269"/>
            <a:ext cx="1720273" cy="404091"/>
          </a:xfrm>
          <a:prstGeom prst="rightArrow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457029">
              <a:defRPr/>
            </a:pPr>
            <a:endParaRPr lang="en-GB" sz="1833" dirty="0">
              <a:solidFill>
                <a:srgbClr val="FFFFFF"/>
              </a:solidFill>
              <a:latin typeface="Effra"/>
            </a:endParaRPr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xmlns="" id="{E0CF4B56-8CA6-45C3-934A-66FA07A75549}"/>
              </a:ext>
            </a:extLst>
          </p:cNvPr>
          <p:cNvSpPr/>
          <p:nvPr/>
        </p:nvSpPr>
        <p:spPr>
          <a:xfrm rot="3739134">
            <a:off x="7145309" y="2078441"/>
            <a:ext cx="1720273" cy="404091"/>
          </a:xfrm>
          <a:prstGeom prst="rightArrow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defTabSz="457029">
              <a:defRPr/>
            </a:pPr>
            <a:endParaRPr lang="en-GB" sz="1833" dirty="0">
              <a:solidFill>
                <a:srgbClr val="FFFFFF"/>
              </a:solidFill>
              <a:latin typeface="Effra"/>
            </a:endParaRPr>
          </a:p>
        </p:txBody>
      </p:sp>
    </p:spTree>
    <p:extLst>
      <p:ext uri="{BB962C8B-B14F-4D97-AF65-F5344CB8AC3E}">
        <p14:creationId xmlns:p14="http://schemas.microsoft.com/office/powerpoint/2010/main" val="3297825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d4O9Z0RV.sxnbG7QUn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temp-adv-lt-16x9-ppt">
  <a:themeElements>
    <a:clrScheme name="Medtronic Dark">
      <a:dk1>
        <a:srgbClr val="001E46"/>
      </a:dk1>
      <a:lt1>
        <a:srgbClr val="FFFFFF"/>
      </a:lt1>
      <a:dk2>
        <a:srgbClr val="004B87"/>
      </a:dk2>
      <a:lt2>
        <a:srgbClr val="71C5E8"/>
      </a:lt2>
      <a:accent1>
        <a:srgbClr val="0085CA"/>
      </a:accent1>
      <a:accent2>
        <a:srgbClr val="00A9E0"/>
      </a:accent2>
      <a:accent3>
        <a:srgbClr val="B9D9EB"/>
      </a:accent3>
      <a:accent4>
        <a:srgbClr val="5B7F95"/>
      </a:accent4>
      <a:accent5>
        <a:srgbClr val="888B8D"/>
      </a:accent5>
      <a:accent6>
        <a:srgbClr val="B1B3B3"/>
      </a:accent6>
      <a:hlink>
        <a:srgbClr val="77BC1F"/>
      </a:hlink>
      <a:folHlink>
        <a:srgbClr val="00C4B3"/>
      </a:folHlink>
    </a:clrScheme>
    <a:fontScheme name="Medtronic Font Theme">
      <a:majorFont>
        <a:latin typeface="Effra"/>
        <a:ea typeface=""/>
        <a:cs typeface=""/>
      </a:majorFont>
      <a:minorFont>
        <a:latin typeface="Effr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t" anchorCtr="0"/>
      <a:lstStyle>
        <a:defPPr>
          <a:defRPr sz="16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sq">
          <a:solidFill>
            <a:schemeClr val="tx1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115888" indent="-115888">
          <a:lnSpc>
            <a:spcPts val="1900"/>
          </a:lnSpc>
          <a:buFont typeface="Wingdings" charset="2"/>
          <a:buChar char="§"/>
          <a:defRPr sz="1600" dirty="0" err="1" smtClean="0">
            <a:cs typeface="Effr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mdt_ppt_adv_wde_lt_160325" id="{B0873419-1C5B-4196-BA6B-77F3D0CFEEE5}" vid="{F9547A9E-AA9F-44F6-9C86-8E3C32AE80D2}"/>
    </a:ext>
  </a:extLst>
</a:theme>
</file>

<file path=ppt/theme/theme3.xml><?xml version="1.0" encoding="utf-8"?>
<a:theme xmlns:a="http://schemas.openxmlformats.org/drawingml/2006/main" name="3_Content">
  <a:themeElements>
    <a:clrScheme name="Medtronic">
      <a:dk1>
        <a:srgbClr val="001E46"/>
      </a:dk1>
      <a:lt1>
        <a:srgbClr val="FFFFFF"/>
      </a:lt1>
      <a:dk2>
        <a:srgbClr val="004B87"/>
      </a:dk2>
      <a:lt2>
        <a:srgbClr val="71C5E8"/>
      </a:lt2>
      <a:accent1>
        <a:srgbClr val="0085CA"/>
      </a:accent1>
      <a:accent2>
        <a:srgbClr val="00A9E0"/>
      </a:accent2>
      <a:accent3>
        <a:srgbClr val="B9D9EB"/>
      </a:accent3>
      <a:accent4>
        <a:srgbClr val="5B7F95"/>
      </a:accent4>
      <a:accent5>
        <a:srgbClr val="888B8D"/>
      </a:accent5>
      <a:accent6>
        <a:srgbClr val="B1B3B3"/>
      </a:accent6>
      <a:hlink>
        <a:srgbClr val="77BC1F"/>
      </a:hlink>
      <a:folHlink>
        <a:srgbClr val="00C4B3"/>
      </a:folHlink>
    </a:clrScheme>
    <a:fontScheme name="Medtronic">
      <a:majorFont>
        <a:latin typeface="Effra"/>
        <a:ea typeface=""/>
        <a:cs typeface=""/>
      </a:majorFont>
      <a:minorFont>
        <a:latin typeface="Effr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t" anchorCtr="0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sq">
          <a:solidFill>
            <a:schemeClr val="tx1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115888" indent="-115888">
          <a:lnSpc>
            <a:spcPts val="1900"/>
          </a:lnSpc>
          <a:buFont typeface="Wingdings" charset="2"/>
          <a:buChar char="§"/>
          <a:defRPr sz="1600" dirty="0" smtClean="0">
            <a:latin typeface="Effra"/>
            <a:cs typeface="Effr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mdt_ppt_bas_wde_dk_160325" id="{C302049F-D6FE-4D04-B045-6055159337DB}" vid="{2DA3B101-68E4-49C8-A776-D0494AE1FB86}"/>
    </a:ext>
  </a:extLst>
</a:theme>
</file>

<file path=ppt/theme/theme4.xml><?xml version="1.0" encoding="utf-8"?>
<a:theme xmlns:a="http://schemas.openxmlformats.org/drawingml/2006/main" name="Advanced">
  <a:themeElements>
    <a:clrScheme name="Medtronic Dark">
      <a:dk1>
        <a:srgbClr val="001E46"/>
      </a:dk1>
      <a:lt1>
        <a:srgbClr val="FFFFFF"/>
      </a:lt1>
      <a:dk2>
        <a:srgbClr val="004B87"/>
      </a:dk2>
      <a:lt2>
        <a:srgbClr val="71C5E8"/>
      </a:lt2>
      <a:accent1>
        <a:srgbClr val="0085CA"/>
      </a:accent1>
      <a:accent2>
        <a:srgbClr val="00A9E0"/>
      </a:accent2>
      <a:accent3>
        <a:srgbClr val="B9D9EB"/>
      </a:accent3>
      <a:accent4>
        <a:srgbClr val="5B7F95"/>
      </a:accent4>
      <a:accent5>
        <a:srgbClr val="888B8D"/>
      </a:accent5>
      <a:accent6>
        <a:srgbClr val="B1B3B3"/>
      </a:accent6>
      <a:hlink>
        <a:srgbClr val="77BC1F"/>
      </a:hlink>
      <a:folHlink>
        <a:srgbClr val="00C4B3"/>
      </a:folHlink>
    </a:clrScheme>
    <a:fontScheme name="Medtronic Font Theme">
      <a:majorFont>
        <a:latin typeface="Effra"/>
        <a:ea typeface=""/>
        <a:cs typeface=""/>
      </a:majorFont>
      <a:minorFont>
        <a:latin typeface="Effr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t" anchorCtr="0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sq">
          <a:solidFill>
            <a:schemeClr val="tx1"/>
          </a:solidFill>
          <a:prstDash val="soli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115888" indent="-115888">
          <a:lnSpc>
            <a:spcPts val="1900"/>
          </a:lnSpc>
          <a:buFont typeface="Wingdings" charset="2"/>
          <a:buChar char="§"/>
          <a:defRPr sz="1600" dirty="0" smtClean="0">
            <a:latin typeface="Effra"/>
            <a:cs typeface="Effr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mdt_ppt_adv_wde_dk_160325" id="{2825A09E-6501-4F44-8833-8C8AFBBA4AF2}" vid="{AE40561D-47D3-4B0D-9B01-9CE73900A610}"/>
    </a:ext>
  </a:extLst>
</a:theme>
</file>

<file path=ppt/theme/theme5.xml><?xml version="1.0" encoding="utf-8"?>
<a:theme xmlns:a="http://schemas.openxmlformats.org/drawingml/2006/main" name="Medtronic Theme light">
  <a:themeElements>
    <a:clrScheme name="Medtronic">
      <a:dk1>
        <a:srgbClr val="001E46"/>
      </a:dk1>
      <a:lt1>
        <a:srgbClr val="FFFFFF"/>
      </a:lt1>
      <a:dk2>
        <a:srgbClr val="004B87"/>
      </a:dk2>
      <a:lt2>
        <a:srgbClr val="71C5E8"/>
      </a:lt2>
      <a:accent1>
        <a:srgbClr val="0085CA"/>
      </a:accent1>
      <a:accent2>
        <a:srgbClr val="00A9E0"/>
      </a:accent2>
      <a:accent3>
        <a:srgbClr val="B9D9EB"/>
      </a:accent3>
      <a:accent4>
        <a:srgbClr val="5B7F95"/>
      </a:accent4>
      <a:accent5>
        <a:srgbClr val="888B8D"/>
      </a:accent5>
      <a:accent6>
        <a:srgbClr val="B1B3B3"/>
      </a:accent6>
      <a:hlink>
        <a:srgbClr val="77BC1F"/>
      </a:hlink>
      <a:folHlink>
        <a:srgbClr val="00C4B3"/>
      </a:folHlink>
    </a:clrScheme>
    <a:fontScheme name="Medtronic">
      <a:majorFont>
        <a:latin typeface="Effra"/>
        <a:ea typeface=""/>
        <a:cs typeface=""/>
      </a:majorFont>
      <a:minorFont>
        <a:latin typeface="Effr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t" anchorCtr="0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sq">
          <a:solidFill>
            <a:schemeClr val="tx1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115888" indent="-115888">
          <a:lnSpc>
            <a:spcPts val="1900"/>
          </a:lnSpc>
          <a:buFont typeface="Wingdings" charset="2"/>
          <a:buChar char="§"/>
          <a:defRPr sz="1600" dirty="0" smtClean="0">
            <a:latin typeface="Effra"/>
            <a:cs typeface="Effr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Medtronic Theme light" id="{A343988A-AF5D-4AF7-AC84-6034EFB07E33}" vid="{56D6661A-F112-4F7A-8FB4-574D708AE341}"/>
    </a:ext>
  </a:extLst>
</a:theme>
</file>

<file path=ppt/theme/theme6.xml><?xml version="1.0" encoding="utf-8"?>
<a:theme xmlns:a="http://schemas.openxmlformats.org/drawingml/2006/main" name="54_temp-basic-lt-16x9-ppt (2)">
  <a:themeElements>
    <a:clrScheme name="Medtronic">
      <a:dk1>
        <a:srgbClr val="001E46"/>
      </a:dk1>
      <a:lt1>
        <a:srgbClr val="FFFFFF"/>
      </a:lt1>
      <a:dk2>
        <a:srgbClr val="004B87"/>
      </a:dk2>
      <a:lt2>
        <a:srgbClr val="71C5E8"/>
      </a:lt2>
      <a:accent1>
        <a:srgbClr val="0085CA"/>
      </a:accent1>
      <a:accent2>
        <a:srgbClr val="00A9E0"/>
      </a:accent2>
      <a:accent3>
        <a:srgbClr val="B9D9EB"/>
      </a:accent3>
      <a:accent4>
        <a:srgbClr val="5B7F95"/>
      </a:accent4>
      <a:accent5>
        <a:srgbClr val="888B8D"/>
      </a:accent5>
      <a:accent6>
        <a:srgbClr val="B1B3B3"/>
      </a:accent6>
      <a:hlink>
        <a:srgbClr val="77BC1F"/>
      </a:hlink>
      <a:folHlink>
        <a:srgbClr val="00C4B3"/>
      </a:folHlink>
    </a:clrScheme>
    <a:fontScheme name="Medtronic">
      <a:majorFont>
        <a:latin typeface="Effra"/>
        <a:ea typeface=""/>
        <a:cs typeface=""/>
      </a:majorFont>
      <a:minorFont>
        <a:latin typeface="Effr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tlCol="0" anchor="t" anchorCtr="0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sq">
          <a:solidFill>
            <a:schemeClr val="tx1"/>
          </a:solidFill>
          <a:round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noAutofit/>
      </a:bodyPr>
      <a:lstStyle>
        <a:defPPr marL="115888" indent="-115888">
          <a:lnSpc>
            <a:spcPts val="1900"/>
          </a:lnSpc>
          <a:buFont typeface="Wingdings" charset="2"/>
          <a:buChar char="§"/>
          <a:defRPr sz="1600" dirty="0" smtClean="0">
            <a:latin typeface="Effra"/>
            <a:cs typeface="Effra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mdt_ppt_bas_wde_lt_160325" id="{34A03680-B925-48EF-B68A-C4AAEF4FDA13}" vid="{2B6C0512-0678-48E4-AB06-9B1F155A73D3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81</TotalTime>
  <Words>486</Words>
  <Application>Microsoft Office PowerPoint</Application>
  <PresentationFormat>Custom</PresentationFormat>
  <Paragraphs>75</Paragraphs>
  <Slides>10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Office Theme</vt:lpstr>
      <vt:lpstr>3_temp-adv-lt-16x9-ppt</vt:lpstr>
      <vt:lpstr>3_Content</vt:lpstr>
      <vt:lpstr>Advanced</vt:lpstr>
      <vt:lpstr>Medtronic Theme light</vt:lpstr>
      <vt:lpstr>54_temp-basic-lt-16x9-ppt (2)</vt:lpstr>
      <vt:lpstr>think-cell Slide</vt:lpstr>
      <vt:lpstr>PowerPoint Presentation</vt:lpstr>
      <vt:lpstr>CareLink personal 14.0</vt:lpstr>
      <vt:lpstr>CareLink Personal 14.0 – HOOLDUSPARTNERI REGISTREERuMINE JA LIGIPÄÄS</vt:lpstr>
      <vt:lpstr>CareLink Personal 14.0 - HOOLDUSPARTNERI REGISTREERuMINE JA LIGIPÄÄS</vt:lpstr>
      <vt:lpstr>CareLink Personal 14.0 - HOOLDUSPARTNERI REGISTREERuMINE JA LIGIPÄÄS</vt:lpstr>
      <vt:lpstr>CareLink Personal 14.0 - HOOLDUSPARTNERI REGISTREERUMINE JA LIGIPÄÄS</vt:lpstr>
      <vt:lpstr>CareLink Personal 14.0 - HOOLDUSPARTNERI REGISTREERUMINE JA LIGIPÄÄS</vt:lpstr>
      <vt:lpstr>PATSIENT KINNITAB TAOTLUSE VÕI LÜKKAB SELLE TAGASI</vt:lpstr>
      <vt:lpstr>PATSIENDI VALIKUD PÄRAST LIGIPÄÄSU ANDMIST</vt:lpstr>
      <vt:lpstr>SMS-teavituste aktiveerimin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layford, Mark</dc:creator>
  <cp:lastModifiedBy>dell</cp:lastModifiedBy>
  <cp:revision>56</cp:revision>
  <dcterms:created xsi:type="dcterms:W3CDTF">2020-02-13T11:27:00Z</dcterms:created>
  <dcterms:modified xsi:type="dcterms:W3CDTF">2020-07-22T06:21:22Z</dcterms:modified>
</cp:coreProperties>
</file>